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8"/>
  </p:notesMasterIdLst>
  <p:sldIdLst>
    <p:sldId id="257" r:id="rId6"/>
    <p:sldId id="339" r:id="rId7"/>
    <p:sldId id="341" r:id="rId8"/>
    <p:sldId id="284" r:id="rId9"/>
    <p:sldId id="340" r:id="rId10"/>
    <p:sldId id="342" r:id="rId11"/>
    <p:sldId id="343" r:id="rId12"/>
    <p:sldId id="344" r:id="rId13"/>
    <p:sldId id="345" r:id="rId14"/>
    <p:sldId id="307" r:id="rId15"/>
    <p:sldId id="308" r:id="rId16"/>
    <p:sldId id="304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t 24slides5" initials="i2" lastIdx="1" clrIdx="0">
    <p:extLst>
      <p:ext uri="{19B8F6BF-5375-455C-9EA6-DF929625EA0E}">
        <p15:presenceInfo xmlns:p15="http://schemas.microsoft.com/office/powerpoint/2012/main" userId="it 24slides5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C18F"/>
    <a:srgbClr val="E07A90"/>
    <a:srgbClr val="FFFFFF"/>
    <a:srgbClr val="FFCC00"/>
    <a:srgbClr val="185C37"/>
    <a:srgbClr val="4399FF"/>
    <a:srgbClr val="8A4F00"/>
    <a:srgbClr val="B06500"/>
    <a:srgbClr val="65E9E9"/>
    <a:srgbClr val="6597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5A012A-657B-4DB4-B3C9-B6B3A6D4D854}" v="461" dt="2023-02-16T22:20:32.357"/>
    <p1510:client id="{1B0DE797-9CB7-4288-8A93-1D0F8C439993}" v="1" dt="2023-03-05T16:31:58.176"/>
    <p1510:client id="{5270F4B9-F147-47DB-BB09-2B4F9139B2EC}" v="38" dt="2023-03-05T22:15:49.910"/>
    <p1510:client id="{5F208425-50E3-43E1-B037-1B87CA458147}" v="83" dt="2023-02-28T21:24:54.113"/>
    <p1510:client id="{75D75E81-3B3D-4F17-92D5-7839B553BDC1}" v="1094" dt="2023-02-17T20:02:47.786"/>
    <p1510:client id="{7A3C2E4E-C572-4381-A0CA-E49F120F3BB5}" v="800" dt="2023-03-05T19:04:14.310"/>
    <p1510:client id="{9341476F-4414-4F91-AADD-73BAA05A6F7D}" v="41" dt="2023-03-03T12:03:53.994"/>
    <p1510:client id="{D5757B3B-9052-48CE-92F6-343C9772D293}" v="503" dt="2023-03-04T18:42:13.187"/>
    <p1510:client id="{FF619D7E-CDF9-4295-9B50-6DA33E5090DD}" v="259" dt="2023-03-05T22:20:01.2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4660"/>
  </p:normalViewPr>
  <p:slideViewPr>
    <p:cSldViewPr snapToGrid="0">
      <p:cViewPr>
        <p:scale>
          <a:sx n="50" d="100"/>
          <a:sy n="50" d="100"/>
        </p:scale>
        <p:origin x="1232" y="2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70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6E3F1E-E333-46B1-9C07-757443D4B68C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FB5766-4E77-4497-9934-9A4F27062C5C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66374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13282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3212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4835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9840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251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9A350A-4C63-4DFB-A3DE-ACC5C0E29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400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9A350A-4C63-4DFB-A3DE-ACC5C0E29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25214B6-65E8-44DC-919D-C45CD80C74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8B5DCB-69E9-4752-BE84-37D9AD5C5B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812AD3-37A5-4A14-8B7F-BEBA7EDF98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BA1D19-EFA1-4DF5-A1A5-3E730AC40D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561B3-8653-4690-91CA-35294074A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3C3D16-93BE-413F-8195-84ACD9573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817416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EFA7050-46ED-4D2B-8EE5-61E6180AC1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253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EFA7050-46ED-4D2B-8EE5-61E6180AC1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AFFE6CC-A1C9-45FC-868A-F49B6477FE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D3E5AD-7A98-447C-8818-635CF3561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15BD2D-3132-431B-BF85-5F3419EDF6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66099A-CF84-4974-84A9-694A739AC0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0273D6-EDB3-48DB-8F9B-8D97AF12A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923E7E-5DD8-4E3A-854A-BBFF82EF8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208930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86284C6-8800-46EB-96AD-F493D55DA9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784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86284C6-8800-46EB-96AD-F493D55DA9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82D5F87-EA2A-48F5-8E60-8A4A1D0BED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7E1D4A2C-ABFC-41AF-93E3-4DEA5CE224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8CFC36-F285-4AEB-A10C-E95F819D8E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D7ED79-2357-49FF-BCA2-14A408110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E98CE6-E597-4F88-A8AF-F408098CBB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A1EF67-C7A3-4DFF-AD21-27BFCD7CA4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25609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2779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197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876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5561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3990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708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093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182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A458C03-0C27-4004-BFA8-7C0CC05DD8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33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A458C03-0C27-4004-BFA8-7C0CC05DD8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FA54A94-670B-4C81-AE54-0FD7051692D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2B7ACC-6CE6-4D4C-B626-CC4E5F24E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6C1BEA-193C-4061-A271-E07BCEC6D2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B964C6-8EF8-45AD-B75A-AD00D6B46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A123AF-CCAC-47EC-A100-1FC068687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A778EC-24DC-486E-BBE1-FB9000FBA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685331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6820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3496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6502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DD3B96-44AD-4B70-BFB7-70D6687D3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14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6DD3B96-44AD-4B70-BFB7-70D6687D3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0A9CE1B-5BA4-44B1-A661-543FC58E56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83697-C8BF-45FA-93E9-07DDC4930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997198-753B-4D7D-A9CE-842C6C3BE7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A7A9BE-EB23-4457-B722-FA80BAB70A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039A4A-F633-4A40-AC45-36CC4C5E3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EC63DB-70FC-47DC-9FCA-55776C03B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22332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2009206-7F3B-45A6-ABC3-130FA0FB95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197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2009206-7F3B-45A6-ABC3-130FA0FB95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6ECFEDB-06E7-4EBF-8E11-88C5E22AF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FFE6AA-EB46-4B47-928E-3BE83E0DE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B36ED6-8FC1-4D33-82AC-A40BD3BA31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5A2523-1AE2-42A7-A9BA-228FC9BD45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E315D2-37A7-45BE-B70E-0E7E742FD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0686E4-1F56-40DC-81E4-FDE36598F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42651C-2D8F-4AA9-B3CE-1672F928E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0900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2EA8543-A2DD-4D41-B193-1A8008D4EE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85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2EA8543-A2DD-4D41-B193-1A8008D4E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8205544-BF31-4F22-917E-54F13EF8DE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A7699-78DA-48C6-92D5-B7684F81E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B9601B-40C4-4DFE-919E-458AB9C8A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269E4D-AFB2-4ABF-9A4A-381C8AC49B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391D14-647D-4A56-9619-B02B16076F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A6F001-6604-4DD7-BBE5-EC42057387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F1EE46B-BC09-4EB9-BE06-019E7235E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F514838-3C18-4E56-B15A-6D30756D7C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4791E-823E-465F-B3F8-56485630C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80706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A508EB-4D5F-477E-8C66-A2BAF2110D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78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A508EB-4D5F-477E-8C66-A2BAF2110D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D28B55-71F8-452B-A937-8FCA6B91BA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6F70A9-827F-4EC3-9745-6BB42210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126CF6-F15B-41F6-906C-DED17F92A5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C67EA1-74F0-49AF-B9CD-A3ABCBD69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DCA18A-BDE0-4EFF-9C1B-7E9733705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52103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CFDF06-4D62-434D-A776-A965541D9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27A724-63B5-43E1-9EB0-F140362FB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FF710A-FBF1-42A2-9EC2-FF8E061D2D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267116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4744C5B-3214-4742-9FA5-2B95A96EF5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633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4744C5B-3214-4742-9FA5-2B95A96EF5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1CFF6CD-3EB0-4613-A1B9-4774E7C054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99E177-EA55-49C4-8C8F-222E5BF35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B91652-040B-4BD5-9562-B88D2B24CB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E0F2D8-364D-4AAA-91D8-EB1E66143A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B07D58-4D33-428E-8EA1-2FB90E167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9B06A5-AEDF-4969-BC99-0ADAD5368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C5304E-8ED5-4D3A-8B64-8DA1FBDE53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774941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2699FE9-23BC-4080-B977-25921362BD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209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2699FE9-23BC-4080-B977-25921362BD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3597BF3-CFFF-47A4-9BB8-1E96BEDE04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C96526-955F-4B69-9FF6-9DC258D70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EB8CAA-9EF1-45CD-B0AF-BC65B847A0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94E0A2-C8C8-4ABC-99C1-8716CA401F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C04DAF-0052-4BE8-A12A-720C875BB9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5A6608-D95A-4D54-AD5D-B584B0B3A1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C24F70-C788-42DB-BE5D-DEC2189E2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64480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D0A9C2A-1257-4CA8-B681-D87B6EBDC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91528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1" imgH="381" progId="TCLayout.ActiveDocument.1">
                  <p:embed/>
                </p:oleObj>
              </mc:Choice>
              <mc:Fallback>
                <p:oleObj name="think-cell Slide" r:id="rId15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D0A9C2A-1257-4CA8-B681-D87B6EBDC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0E3C7DB-868A-4859-9012-656F916C08A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64F998-35A4-4711-B07B-72B9D6F51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DAD063-5867-4E56-97DC-C1B1D5B709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09772-A16C-4826-9965-0149106921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568172-2105-4133-B8A2-F173B18AF83D}" type="datetimeFigureOut">
              <a:rPr lang="en-ID" smtClean="0"/>
              <a:t>20/10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7EE674-92E4-47A2-8D81-8138C6FB4F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97180A-2CBE-46FF-BD99-7BA9F25F9C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DE4CFF-B236-4FF9-87DA-77AC902F1278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82872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59162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10/20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812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audio" Target="../media/audio1.wav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audio" Target="../media/audio1.wav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audio" Target="../media/audio1.wav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6BDFCE-A343-4A46-AE69-096238B342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54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6BDFCE-A343-4A46-AE69-096238B342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EC0A8CFC-0C99-4AA5-A9E0-6F45B3F85D47}"/>
              </a:ext>
            </a:extLst>
          </p:cNvPr>
          <p:cNvSpPr/>
          <p:nvPr/>
        </p:nvSpPr>
        <p:spPr>
          <a:xfrm>
            <a:off x="-136770" y="-78154"/>
            <a:ext cx="11025390" cy="6936153"/>
          </a:xfrm>
          <a:custGeom>
            <a:avLst/>
            <a:gdLst>
              <a:gd name="connsiteX0" fmla="*/ 0 w 8667750"/>
              <a:gd name="connsiteY0" fmla="*/ 0 h 6858000"/>
              <a:gd name="connsiteX1" fmla="*/ 1733550 w 8667750"/>
              <a:gd name="connsiteY1" fmla="*/ 0 h 6858000"/>
              <a:gd name="connsiteX2" fmla="*/ 1733550 w 8667750"/>
              <a:gd name="connsiteY2" fmla="*/ 1 h 6858000"/>
              <a:gd name="connsiteX3" fmla="*/ 2657034 w 8667750"/>
              <a:gd name="connsiteY3" fmla="*/ 1 h 6858000"/>
              <a:gd name="connsiteX4" fmla="*/ 2772465 w 8667750"/>
              <a:gd name="connsiteY4" fmla="*/ 167752 h 6858000"/>
              <a:gd name="connsiteX5" fmla="*/ 3182552 w 8667750"/>
              <a:gd name="connsiteY5" fmla="*/ 1091230 h 6858000"/>
              <a:gd name="connsiteX6" fmla="*/ 5846636 w 8667750"/>
              <a:gd name="connsiteY6" fmla="*/ 3105539 h 6858000"/>
              <a:gd name="connsiteX7" fmla="*/ 7471077 w 8667750"/>
              <a:gd name="connsiteY7" fmla="*/ 5358098 h 6858000"/>
              <a:gd name="connsiteX8" fmla="*/ 8667750 w 8667750"/>
              <a:gd name="connsiteY8" fmla="*/ 6858000 h 6858000"/>
              <a:gd name="connsiteX9" fmla="*/ 1733550 w 8667750"/>
              <a:gd name="connsiteY9" fmla="*/ 6858000 h 6858000"/>
              <a:gd name="connsiteX10" fmla="*/ 670081 w 8667750"/>
              <a:gd name="connsiteY10" fmla="*/ 6858000 h 6858000"/>
              <a:gd name="connsiteX11" fmla="*/ 0 w 866775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667750" h="6858000">
                <a:moveTo>
                  <a:pt x="0" y="0"/>
                </a:moveTo>
                <a:lnTo>
                  <a:pt x="1733550" y="0"/>
                </a:lnTo>
                <a:lnTo>
                  <a:pt x="1733550" y="1"/>
                </a:lnTo>
                <a:lnTo>
                  <a:pt x="2657034" y="1"/>
                </a:lnTo>
                <a:lnTo>
                  <a:pt x="2772465" y="167752"/>
                </a:lnTo>
                <a:cubicBezTo>
                  <a:pt x="2927379" y="414041"/>
                  <a:pt x="3062073" y="716255"/>
                  <a:pt x="3182552" y="1091230"/>
                </a:cubicBezTo>
                <a:cubicBezTo>
                  <a:pt x="3664470" y="2596547"/>
                  <a:pt x="4547083" y="2515325"/>
                  <a:pt x="5846636" y="3105539"/>
                </a:cubicBezTo>
                <a:cubicBezTo>
                  <a:pt x="7140774" y="3695753"/>
                  <a:pt x="7227412" y="4069374"/>
                  <a:pt x="7471077" y="5358098"/>
                </a:cubicBezTo>
                <a:cubicBezTo>
                  <a:pt x="7714744" y="6646822"/>
                  <a:pt x="8667750" y="6858000"/>
                  <a:pt x="8667750" y="6858000"/>
                </a:cubicBezTo>
                <a:lnTo>
                  <a:pt x="1733550" y="6858000"/>
                </a:lnTo>
                <a:lnTo>
                  <a:pt x="67008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2060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97A50B60-3923-424D-B191-06DB0C4371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79414" y="885568"/>
            <a:ext cx="6096000" cy="5972432"/>
          </a:xfrm>
          <a:prstGeom prst="rect">
            <a:avLst/>
          </a:pr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52F73E1-9F57-4737-B103-97AFDF6470C9}"/>
              </a:ext>
            </a:extLst>
          </p:cNvPr>
          <p:cNvSpPr/>
          <p:nvPr/>
        </p:nvSpPr>
        <p:spPr>
          <a:xfrm>
            <a:off x="5878649" y="304799"/>
            <a:ext cx="6324720" cy="5343525"/>
          </a:xfrm>
          <a:custGeom>
            <a:avLst/>
            <a:gdLst>
              <a:gd name="connsiteX0" fmla="*/ 7638322 w 7638321"/>
              <a:gd name="connsiteY0" fmla="*/ 6442439 h 6453339"/>
              <a:gd name="connsiteX1" fmla="*/ 5413115 w 7638321"/>
              <a:gd name="connsiteY1" fmla="*/ 4567004 h 6453339"/>
              <a:gd name="connsiteX2" fmla="*/ 3114623 w 7638321"/>
              <a:gd name="connsiteY2" fmla="*/ 1875436 h 6453339"/>
              <a:gd name="connsiteX3" fmla="*/ 0 w 7638321"/>
              <a:gd name="connsiteY3" fmla="*/ 0 h 6453339"/>
              <a:gd name="connsiteX4" fmla="*/ 7638322 w 7638321"/>
              <a:gd name="connsiteY4" fmla="*/ 0 h 6453339"/>
              <a:gd name="connsiteX5" fmla="*/ 7638322 w 7638321"/>
              <a:gd name="connsiteY5" fmla="*/ 6442439 h 645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38321" h="6453339">
                <a:moveTo>
                  <a:pt x="7638322" y="6442439"/>
                </a:moveTo>
                <a:cubicBezTo>
                  <a:pt x="7638322" y="6442439"/>
                  <a:pt x="6259226" y="6712263"/>
                  <a:pt x="5413115" y="4567004"/>
                </a:cubicBezTo>
                <a:cubicBezTo>
                  <a:pt x="4567004" y="2421744"/>
                  <a:pt x="4413771" y="2361784"/>
                  <a:pt x="3114623" y="1875436"/>
                </a:cubicBezTo>
                <a:cubicBezTo>
                  <a:pt x="1815475" y="1389089"/>
                  <a:pt x="786151" y="1359108"/>
                  <a:pt x="0" y="0"/>
                </a:cubicBezTo>
                <a:lnTo>
                  <a:pt x="7638322" y="0"/>
                </a:lnTo>
                <a:lnTo>
                  <a:pt x="7638322" y="6442439"/>
                </a:lnTo>
                <a:close/>
              </a:path>
            </a:pathLst>
          </a:custGeom>
          <a:solidFill>
            <a:schemeClr val="bg1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850BE06-A06A-4A7A-A00C-927D0AB38C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-136770" y="6089867"/>
            <a:ext cx="663388" cy="7681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4A3AC09-E85B-415E-A29B-4318D5329DB7}"/>
              </a:ext>
            </a:extLst>
          </p:cNvPr>
          <p:cNvSpPr txBox="1"/>
          <p:nvPr/>
        </p:nvSpPr>
        <p:spPr>
          <a:xfrm>
            <a:off x="487945" y="2517567"/>
            <a:ext cx="4771924" cy="135421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kumimoji="0" lang="fr-FR" sz="4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/>
              </a:rPr>
              <a:t>SOUTENANCE DE PROJET</a:t>
            </a:r>
            <a:endParaRPr lang="fr-FR" sz="4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0B0DA34-A0CB-41E8-B670-790B5FF0D8E5}"/>
              </a:ext>
            </a:extLst>
          </p:cNvPr>
          <p:cNvSpPr txBox="1"/>
          <p:nvPr/>
        </p:nvSpPr>
        <p:spPr>
          <a:xfrm>
            <a:off x="569261" y="5095622"/>
            <a:ext cx="4690607" cy="141577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400" b="1" dirty="0">
                <a:solidFill>
                  <a:schemeClr val="bg1"/>
                </a:solidFill>
              </a:rPr>
              <a:t>Sugeetha SUGUNAPARAJAN 205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en-US" sz="1600" b="1" dirty="0">
                <a:solidFill>
                  <a:schemeClr val="bg1"/>
                </a:solidFill>
                <a:cs typeface="Calibri"/>
              </a:rPr>
              <a:t>Promotion 2026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>
                <a:solidFill>
                  <a:schemeClr val="bg1"/>
                </a:solidFill>
              </a:rPr>
              <a:t>M1 Business Intelligence &amp; Analytics </a:t>
            </a:r>
          </a:p>
          <a:p>
            <a:pPr>
              <a:defRPr/>
            </a:pPr>
            <a:r>
              <a:rPr lang="fr-FR" sz="1600" b="1" dirty="0" err="1">
                <a:solidFill>
                  <a:schemeClr val="bg1"/>
                </a:solidFill>
              </a:rPr>
              <a:t>Efrei</a:t>
            </a:r>
            <a:r>
              <a:rPr lang="fr-FR" sz="1600" b="1" dirty="0">
                <a:solidFill>
                  <a:schemeClr val="bg1"/>
                </a:solidFill>
              </a:rPr>
              <a:t> Paris – Panthéon-Assos Université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7A346DF0-015B-46DC-AC64-4A49272B4E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69800" y="1640431"/>
            <a:ext cx="5132892" cy="46805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5085C9B-A256-E3E4-9C45-7DE729659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2727" y="142301"/>
            <a:ext cx="375285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1482877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0DDF796-179D-1B3A-BE66-88007ECF0822}"/>
              </a:ext>
            </a:extLst>
          </p:cNvPr>
          <p:cNvSpPr/>
          <p:nvPr/>
        </p:nvSpPr>
        <p:spPr>
          <a:xfrm>
            <a:off x="0" y="-54429"/>
            <a:ext cx="12192000" cy="344928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: Top Corners Rounded 4">
            <a:extLst>
              <a:ext uri="{FF2B5EF4-FFF2-40B4-BE49-F238E27FC236}">
                <a16:creationId xmlns:a16="http://schemas.microsoft.com/office/drawing/2014/main" id="{2E099B16-1BD9-1212-7415-D935C97FFCDA}"/>
              </a:ext>
            </a:extLst>
          </p:cNvPr>
          <p:cNvSpPr/>
          <p:nvPr/>
        </p:nvSpPr>
        <p:spPr>
          <a:xfrm rot="5400000">
            <a:off x="3375754" y="-1819734"/>
            <a:ext cx="5435602" cy="12212661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Graphic 8">
            <a:extLst>
              <a:ext uri="{FF2B5EF4-FFF2-40B4-BE49-F238E27FC236}">
                <a16:creationId xmlns:a16="http://schemas.microsoft.com/office/drawing/2014/main" id="{59FFCD79-CCBA-BE40-1EE9-C830A8A767AA}"/>
              </a:ext>
            </a:extLst>
          </p:cNvPr>
          <p:cNvSpPr/>
          <p:nvPr/>
        </p:nvSpPr>
        <p:spPr>
          <a:xfrm rot="5400000">
            <a:off x="11532390" y="6183792"/>
            <a:ext cx="647632" cy="630268"/>
          </a:xfrm>
          <a:prstGeom prst="roundRect">
            <a:avLst>
              <a:gd name="adj" fmla="val 50000"/>
            </a:avLst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10" name="TextBox 83">
            <a:extLst>
              <a:ext uri="{FF2B5EF4-FFF2-40B4-BE49-F238E27FC236}">
                <a16:creationId xmlns:a16="http://schemas.microsoft.com/office/drawing/2014/main" id="{2AEEE993-04C5-9735-9F3F-28994EED9D55}"/>
              </a:ext>
            </a:extLst>
          </p:cNvPr>
          <p:cNvSpPr txBox="1"/>
          <p:nvPr/>
        </p:nvSpPr>
        <p:spPr>
          <a:xfrm>
            <a:off x="771130" y="487376"/>
            <a:ext cx="10055415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en-US" sz="3600" dirty="0">
                <a:solidFill>
                  <a:schemeClr val="bg1"/>
                </a:solidFill>
                <a:latin typeface="Arial Black"/>
              </a:rPr>
              <a:t>     </a:t>
            </a:r>
            <a:r>
              <a:rPr lang="en-US" sz="3600" dirty="0" err="1">
                <a:solidFill>
                  <a:schemeClr val="bg1"/>
                </a:solidFill>
                <a:latin typeface="Arial Black"/>
              </a:rPr>
              <a:t>Formulaire</a:t>
            </a:r>
            <a:r>
              <a:rPr lang="en-US" sz="3600" dirty="0">
                <a:solidFill>
                  <a:schemeClr val="bg1"/>
                </a:solidFill>
                <a:latin typeface="Arial Black"/>
              </a:rPr>
              <a:t> de contact </a:t>
            </a:r>
            <a:r>
              <a:rPr lang="en-US" sz="3600" dirty="0" err="1">
                <a:solidFill>
                  <a:schemeClr val="bg1"/>
                </a:solidFill>
                <a:latin typeface="Arial Black"/>
              </a:rPr>
              <a:t>fonctionnel</a:t>
            </a:r>
            <a:endParaRPr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A027C73C-3FDD-287A-AAFA-E39E2C3A994A}"/>
              </a:ext>
            </a:extLst>
          </p:cNvPr>
          <p:cNvSpPr txBox="1"/>
          <p:nvPr/>
        </p:nvSpPr>
        <p:spPr>
          <a:xfrm>
            <a:off x="1910245" y="4494737"/>
            <a:ext cx="2816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u="sng" dirty="0"/>
              <a:t>Formulaire de contact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4D7FFFE-8F31-99FD-8D0A-33ACD59D9C86}"/>
              </a:ext>
            </a:extLst>
          </p:cNvPr>
          <p:cNvSpPr txBox="1"/>
          <p:nvPr/>
        </p:nvSpPr>
        <p:spPr>
          <a:xfrm>
            <a:off x="7398311" y="5971784"/>
            <a:ext cx="41142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u="sng" dirty="0"/>
              <a:t>Données enregistrées dans le fichier « messages_contact.csv »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ED4CD96-6282-ADB6-EE29-2FBBF056A9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5293" y="1896179"/>
            <a:ext cx="5676900" cy="245707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9DBDAEAC-D54E-8307-4602-D57C47BF5A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9219" y="3957526"/>
            <a:ext cx="5087060" cy="18100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3" name="Flèche : droite 12">
            <a:extLst>
              <a:ext uri="{FF2B5EF4-FFF2-40B4-BE49-F238E27FC236}">
                <a16:creationId xmlns:a16="http://schemas.microsoft.com/office/drawing/2014/main" id="{08B14ABE-EEA3-751F-3864-C06A064914C0}"/>
              </a:ext>
            </a:extLst>
          </p:cNvPr>
          <p:cNvSpPr/>
          <p:nvPr/>
        </p:nvSpPr>
        <p:spPr>
          <a:xfrm rot="1749713">
            <a:off x="5500222" y="3539133"/>
            <a:ext cx="1360078" cy="309364"/>
          </a:xfrm>
          <a:prstGeom prst="rightArrow">
            <a:avLst>
              <a:gd name="adj1" fmla="val 50000"/>
              <a:gd name="adj2" fmla="val 89453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63195094"/>
      </p:ext>
    </p:extLst>
  </p:cSld>
  <p:clrMapOvr>
    <a:masterClrMapping/>
  </p:clrMapOvr>
  <p:transition spd="slow">
    <p:push dir="u"/>
    <p:sndAc>
      <p:stSnd>
        <p:snd r:embed="rId4" name="click.wav"/>
      </p:stSnd>
    </p:sndAc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70000">
              <a:srgbClr val="00206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: Shape 77">
            <a:extLst>
              <a:ext uri="{FF2B5EF4-FFF2-40B4-BE49-F238E27FC236}">
                <a16:creationId xmlns:a16="http://schemas.microsoft.com/office/drawing/2014/main" id="{46C0214E-9872-0A54-D0E7-4DAB8D064864}"/>
              </a:ext>
            </a:extLst>
          </p:cNvPr>
          <p:cNvSpPr/>
          <p:nvPr/>
        </p:nvSpPr>
        <p:spPr>
          <a:xfrm rot="5400000">
            <a:off x="9234176" y="5395179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Freeform: Shape 75">
            <a:extLst>
              <a:ext uri="{FF2B5EF4-FFF2-40B4-BE49-F238E27FC236}">
                <a16:creationId xmlns:a16="http://schemas.microsoft.com/office/drawing/2014/main" id="{FCDE52D7-96FF-6AC2-4C4E-83229181CA18}"/>
              </a:ext>
            </a:extLst>
          </p:cNvPr>
          <p:cNvSpPr/>
          <p:nvPr/>
        </p:nvSpPr>
        <p:spPr>
          <a:xfrm>
            <a:off x="-9563" y="-544054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5" name="Rectangle: Rounded Corners 10">
            <a:extLst>
              <a:ext uri="{FF2B5EF4-FFF2-40B4-BE49-F238E27FC236}">
                <a16:creationId xmlns:a16="http://schemas.microsoft.com/office/drawing/2014/main" id="{63E7AAEC-D665-854B-B6C3-374EB4F068B8}"/>
              </a:ext>
            </a:extLst>
          </p:cNvPr>
          <p:cNvSpPr/>
          <p:nvPr/>
        </p:nvSpPr>
        <p:spPr>
          <a:xfrm>
            <a:off x="770165" y="816429"/>
            <a:ext cx="10651671" cy="5225143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6" name="Rectángulo 3">
            <a:extLst>
              <a:ext uri="{FF2B5EF4-FFF2-40B4-BE49-F238E27FC236}">
                <a16:creationId xmlns:a16="http://schemas.microsoft.com/office/drawing/2014/main" id="{D7C5BE8A-A2A9-3122-C1F3-4888658D6A9D}"/>
              </a:ext>
            </a:extLst>
          </p:cNvPr>
          <p:cNvSpPr/>
          <p:nvPr/>
        </p:nvSpPr>
        <p:spPr>
          <a:xfrm>
            <a:off x="5899262" y="2897952"/>
            <a:ext cx="50346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b="1" dirty="0">
                <a:latin typeface="Arial Black" panose="020B0A04020102020204" pitchFamily="34" charset="0"/>
                <a:cs typeface="Segoe UI" panose="020B0502040204020203" pitchFamily="34" charset="0"/>
              </a:rPr>
              <a:t>CONCLUSION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Group 353">
            <a:extLst>
              <a:ext uri="{FF2B5EF4-FFF2-40B4-BE49-F238E27FC236}">
                <a16:creationId xmlns:a16="http://schemas.microsoft.com/office/drawing/2014/main" id="{FF1A09DB-517A-115C-7E05-616BD9CD0C75}"/>
              </a:ext>
            </a:extLst>
          </p:cNvPr>
          <p:cNvGrpSpPr/>
          <p:nvPr/>
        </p:nvGrpSpPr>
        <p:grpSpPr>
          <a:xfrm>
            <a:off x="1377317" y="1703532"/>
            <a:ext cx="4396673" cy="2881261"/>
            <a:chOff x="842276" y="1966285"/>
            <a:chExt cx="2589068" cy="1580892"/>
          </a:xfrm>
        </p:grpSpPr>
        <p:sp>
          <p:nvSpPr>
            <p:cNvPr id="4" name="Freeform: Shape 9">
              <a:extLst>
                <a:ext uri="{FF2B5EF4-FFF2-40B4-BE49-F238E27FC236}">
                  <a16:creationId xmlns:a16="http://schemas.microsoft.com/office/drawing/2014/main" id="{A29B9F11-4569-523C-A65A-EC912863263B}"/>
                </a:ext>
              </a:extLst>
            </p:cNvPr>
            <p:cNvSpPr/>
            <p:nvPr/>
          </p:nvSpPr>
          <p:spPr>
            <a:xfrm>
              <a:off x="845815" y="1966285"/>
              <a:ext cx="2579320" cy="1580892"/>
            </a:xfrm>
            <a:custGeom>
              <a:avLst/>
              <a:gdLst>
                <a:gd name="connsiteX0" fmla="*/ 2381649 w 2579320"/>
                <a:gd name="connsiteY0" fmla="*/ 555208 h 1580892"/>
                <a:gd name="connsiteX1" fmla="*/ 1916227 w 2579320"/>
                <a:gd name="connsiteY1" fmla="*/ 276020 h 1580892"/>
                <a:gd name="connsiteX2" fmla="*/ 1346354 w 2579320"/>
                <a:gd name="connsiteY2" fmla="*/ 46221 h 1580892"/>
                <a:gd name="connsiteX3" fmla="*/ 1147329 w 2579320"/>
                <a:gd name="connsiteY3" fmla="*/ 5015 h 1580892"/>
                <a:gd name="connsiteX4" fmla="*/ 364868 w 2579320"/>
                <a:gd name="connsiteY4" fmla="*/ 356072 h 1580892"/>
                <a:gd name="connsiteX5" fmla="*/ 138165 w 2579320"/>
                <a:gd name="connsiteY5" fmla="*/ 601942 h 1580892"/>
                <a:gd name="connsiteX6" fmla="*/ 6403 w 2579320"/>
                <a:gd name="connsiteY6" fmla="*/ 816372 h 1580892"/>
                <a:gd name="connsiteX7" fmla="*/ 85608 w 2579320"/>
                <a:gd name="connsiteY7" fmla="*/ 1069944 h 1580892"/>
                <a:gd name="connsiteX8" fmla="*/ 222824 w 2579320"/>
                <a:gd name="connsiteY8" fmla="*/ 1242395 h 1580892"/>
                <a:gd name="connsiteX9" fmla="*/ 655333 w 2579320"/>
                <a:gd name="connsiteY9" fmla="*/ 1514469 h 1580892"/>
                <a:gd name="connsiteX10" fmla="*/ 1604975 w 2579320"/>
                <a:gd name="connsiteY10" fmla="*/ 1541227 h 1580892"/>
                <a:gd name="connsiteX11" fmla="*/ 1657532 w 2579320"/>
                <a:gd name="connsiteY11" fmla="*/ 1534630 h 1580892"/>
                <a:gd name="connsiteX12" fmla="*/ 2223056 w 2579320"/>
                <a:gd name="connsiteY12" fmla="*/ 1422734 h 1580892"/>
                <a:gd name="connsiteX13" fmla="*/ 2534345 w 2579320"/>
                <a:gd name="connsiteY13" fmla="*/ 748261 h 1580892"/>
                <a:gd name="connsiteX14" fmla="*/ 2381649 w 2579320"/>
                <a:gd name="connsiteY14" fmla="*/ 555208 h 1580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79320" h="1580892">
                  <a:moveTo>
                    <a:pt x="2381649" y="555208"/>
                  </a:moveTo>
                  <a:cubicBezTo>
                    <a:pt x="2244064" y="435609"/>
                    <a:pt x="2079427" y="354414"/>
                    <a:pt x="1916227" y="276020"/>
                  </a:cubicBezTo>
                  <a:cubicBezTo>
                    <a:pt x="1733345" y="188044"/>
                    <a:pt x="1542245" y="100363"/>
                    <a:pt x="1346354" y="46221"/>
                  </a:cubicBezTo>
                  <a:cubicBezTo>
                    <a:pt x="1281033" y="27946"/>
                    <a:pt x="1214537" y="14178"/>
                    <a:pt x="1147329" y="5015"/>
                  </a:cubicBezTo>
                  <a:cubicBezTo>
                    <a:pt x="851999" y="-34421"/>
                    <a:pt x="569348" y="165488"/>
                    <a:pt x="364868" y="356072"/>
                  </a:cubicBezTo>
                  <a:cubicBezTo>
                    <a:pt x="283121" y="432107"/>
                    <a:pt x="207332" y="514308"/>
                    <a:pt x="138165" y="601942"/>
                  </a:cubicBezTo>
                  <a:cubicBezTo>
                    <a:pt x="87782" y="665961"/>
                    <a:pt x="27596" y="734403"/>
                    <a:pt x="6403" y="816372"/>
                  </a:cubicBezTo>
                  <a:cubicBezTo>
                    <a:pt x="-18548" y="912641"/>
                    <a:pt x="33603" y="993283"/>
                    <a:pt x="85608" y="1069944"/>
                  </a:cubicBezTo>
                  <a:cubicBezTo>
                    <a:pt x="127292" y="1131568"/>
                    <a:pt x="170635" y="1189285"/>
                    <a:pt x="222824" y="1242395"/>
                  </a:cubicBezTo>
                  <a:cubicBezTo>
                    <a:pt x="344019" y="1365308"/>
                    <a:pt x="492067" y="1458440"/>
                    <a:pt x="655333" y="1514469"/>
                  </a:cubicBezTo>
                  <a:cubicBezTo>
                    <a:pt x="957998" y="1618073"/>
                    <a:pt x="1294054" y="1578784"/>
                    <a:pt x="1604975" y="1541227"/>
                  </a:cubicBezTo>
                  <a:cubicBezTo>
                    <a:pt x="1622518" y="1539115"/>
                    <a:pt x="1640036" y="1536915"/>
                    <a:pt x="1657532" y="1534630"/>
                  </a:cubicBezTo>
                  <a:cubicBezTo>
                    <a:pt x="1849517" y="1509604"/>
                    <a:pt x="2040248" y="1492761"/>
                    <a:pt x="2223056" y="1422734"/>
                  </a:cubicBezTo>
                  <a:cubicBezTo>
                    <a:pt x="2488422" y="1321194"/>
                    <a:pt x="2667175" y="1023100"/>
                    <a:pt x="2534345" y="748261"/>
                  </a:cubicBezTo>
                  <a:cubicBezTo>
                    <a:pt x="2498004" y="673111"/>
                    <a:pt x="2444673" y="609939"/>
                    <a:pt x="2381649" y="555208"/>
                  </a:cubicBezTo>
                  <a:close/>
                </a:path>
              </a:pathLst>
            </a:custGeom>
            <a:solidFill>
              <a:srgbClr val="92E3A9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10">
              <a:extLst>
                <a:ext uri="{FF2B5EF4-FFF2-40B4-BE49-F238E27FC236}">
                  <a16:creationId xmlns:a16="http://schemas.microsoft.com/office/drawing/2014/main" id="{94D5ABC5-2698-8547-25D4-0CFE01230804}"/>
                </a:ext>
              </a:extLst>
            </p:cNvPr>
            <p:cNvSpPr/>
            <p:nvPr/>
          </p:nvSpPr>
          <p:spPr>
            <a:xfrm>
              <a:off x="842276" y="1966285"/>
              <a:ext cx="2579320" cy="1580892"/>
            </a:xfrm>
            <a:custGeom>
              <a:avLst/>
              <a:gdLst>
                <a:gd name="connsiteX0" fmla="*/ 2381649 w 2579320"/>
                <a:gd name="connsiteY0" fmla="*/ 555208 h 1580892"/>
                <a:gd name="connsiteX1" fmla="*/ 1916227 w 2579320"/>
                <a:gd name="connsiteY1" fmla="*/ 276020 h 1580892"/>
                <a:gd name="connsiteX2" fmla="*/ 1346354 w 2579320"/>
                <a:gd name="connsiteY2" fmla="*/ 46221 h 1580892"/>
                <a:gd name="connsiteX3" fmla="*/ 1147329 w 2579320"/>
                <a:gd name="connsiteY3" fmla="*/ 5015 h 1580892"/>
                <a:gd name="connsiteX4" fmla="*/ 364868 w 2579320"/>
                <a:gd name="connsiteY4" fmla="*/ 356072 h 1580892"/>
                <a:gd name="connsiteX5" fmla="*/ 138165 w 2579320"/>
                <a:gd name="connsiteY5" fmla="*/ 601942 h 1580892"/>
                <a:gd name="connsiteX6" fmla="*/ 6403 w 2579320"/>
                <a:gd name="connsiteY6" fmla="*/ 816372 h 1580892"/>
                <a:gd name="connsiteX7" fmla="*/ 85608 w 2579320"/>
                <a:gd name="connsiteY7" fmla="*/ 1069944 h 1580892"/>
                <a:gd name="connsiteX8" fmla="*/ 222824 w 2579320"/>
                <a:gd name="connsiteY8" fmla="*/ 1242395 h 1580892"/>
                <a:gd name="connsiteX9" fmla="*/ 655333 w 2579320"/>
                <a:gd name="connsiteY9" fmla="*/ 1514469 h 1580892"/>
                <a:gd name="connsiteX10" fmla="*/ 1604975 w 2579320"/>
                <a:gd name="connsiteY10" fmla="*/ 1541227 h 1580892"/>
                <a:gd name="connsiteX11" fmla="*/ 1657532 w 2579320"/>
                <a:gd name="connsiteY11" fmla="*/ 1534630 h 1580892"/>
                <a:gd name="connsiteX12" fmla="*/ 2223056 w 2579320"/>
                <a:gd name="connsiteY12" fmla="*/ 1422734 h 1580892"/>
                <a:gd name="connsiteX13" fmla="*/ 2534345 w 2579320"/>
                <a:gd name="connsiteY13" fmla="*/ 748261 h 1580892"/>
                <a:gd name="connsiteX14" fmla="*/ 2381649 w 2579320"/>
                <a:gd name="connsiteY14" fmla="*/ 555208 h 1580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79320" h="1580892">
                  <a:moveTo>
                    <a:pt x="2381649" y="555208"/>
                  </a:moveTo>
                  <a:cubicBezTo>
                    <a:pt x="2244064" y="435609"/>
                    <a:pt x="2079427" y="354414"/>
                    <a:pt x="1916227" y="276020"/>
                  </a:cubicBezTo>
                  <a:cubicBezTo>
                    <a:pt x="1733345" y="188044"/>
                    <a:pt x="1542245" y="100363"/>
                    <a:pt x="1346354" y="46221"/>
                  </a:cubicBezTo>
                  <a:cubicBezTo>
                    <a:pt x="1281033" y="27946"/>
                    <a:pt x="1214537" y="14178"/>
                    <a:pt x="1147329" y="5015"/>
                  </a:cubicBezTo>
                  <a:cubicBezTo>
                    <a:pt x="851999" y="-34421"/>
                    <a:pt x="569348" y="165488"/>
                    <a:pt x="364868" y="356072"/>
                  </a:cubicBezTo>
                  <a:cubicBezTo>
                    <a:pt x="283121" y="432107"/>
                    <a:pt x="207332" y="514308"/>
                    <a:pt x="138165" y="601942"/>
                  </a:cubicBezTo>
                  <a:cubicBezTo>
                    <a:pt x="87782" y="665961"/>
                    <a:pt x="27596" y="734403"/>
                    <a:pt x="6403" y="816372"/>
                  </a:cubicBezTo>
                  <a:cubicBezTo>
                    <a:pt x="-18548" y="912641"/>
                    <a:pt x="33603" y="993283"/>
                    <a:pt x="85608" y="1069944"/>
                  </a:cubicBezTo>
                  <a:cubicBezTo>
                    <a:pt x="127292" y="1131568"/>
                    <a:pt x="170635" y="1189285"/>
                    <a:pt x="222824" y="1242395"/>
                  </a:cubicBezTo>
                  <a:cubicBezTo>
                    <a:pt x="344019" y="1365308"/>
                    <a:pt x="492067" y="1458440"/>
                    <a:pt x="655333" y="1514469"/>
                  </a:cubicBezTo>
                  <a:cubicBezTo>
                    <a:pt x="957998" y="1618073"/>
                    <a:pt x="1294054" y="1578784"/>
                    <a:pt x="1604975" y="1541227"/>
                  </a:cubicBezTo>
                  <a:cubicBezTo>
                    <a:pt x="1622518" y="1539115"/>
                    <a:pt x="1640036" y="1536915"/>
                    <a:pt x="1657532" y="1534630"/>
                  </a:cubicBezTo>
                  <a:cubicBezTo>
                    <a:pt x="1849517" y="1509604"/>
                    <a:pt x="2040248" y="1492761"/>
                    <a:pt x="2223056" y="1422734"/>
                  </a:cubicBezTo>
                  <a:cubicBezTo>
                    <a:pt x="2488422" y="1321194"/>
                    <a:pt x="2667175" y="1023100"/>
                    <a:pt x="2534345" y="748261"/>
                  </a:cubicBezTo>
                  <a:cubicBezTo>
                    <a:pt x="2498004" y="673111"/>
                    <a:pt x="2444673" y="609939"/>
                    <a:pt x="2381649" y="555208"/>
                  </a:cubicBezTo>
                  <a:close/>
                </a:path>
              </a:pathLst>
            </a:custGeom>
            <a:solidFill>
              <a:srgbClr val="F0F0F0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11">
              <a:extLst>
                <a:ext uri="{FF2B5EF4-FFF2-40B4-BE49-F238E27FC236}">
                  <a16:creationId xmlns:a16="http://schemas.microsoft.com/office/drawing/2014/main" id="{7CE63D5C-5DBD-3E25-F49E-BF39F64F1E27}"/>
                </a:ext>
              </a:extLst>
            </p:cNvPr>
            <p:cNvSpPr/>
            <p:nvPr/>
          </p:nvSpPr>
          <p:spPr>
            <a:xfrm>
              <a:off x="900528" y="3452124"/>
              <a:ext cx="2530816" cy="3685"/>
            </a:xfrm>
            <a:custGeom>
              <a:avLst/>
              <a:gdLst>
                <a:gd name="connsiteX0" fmla="*/ 0 w 2530816"/>
                <a:gd name="connsiteY0" fmla="*/ 0 h 3685"/>
                <a:gd name="connsiteX1" fmla="*/ 2530816 w 2530816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0816" h="3685">
                  <a:moveTo>
                    <a:pt x="0" y="0"/>
                  </a:moveTo>
                  <a:lnTo>
                    <a:pt x="2530816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32">
              <a:extLst>
                <a:ext uri="{FF2B5EF4-FFF2-40B4-BE49-F238E27FC236}">
                  <a16:creationId xmlns:a16="http://schemas.microsoft.com/office/drawing/2014/main" id="{A340F9BC-340B-0429-5EBD-1A0DA0E97226}"/>
                </a:ext>
              </a:extLst>
            </p:cNvPr>
            <p:cNvSpPr/>
            <p:nvPr/>
          </p:nvSpPr>
          <p:spPr>
            <a:xfrm>
              <a:off x="1066640" y="2932493"/>
              <a:ext cx="43468" cy="322783"/>
            </a:xfrm>
            <a:custGeom>
              <a:avLst/>
              <a:gdLst>
                <a:gd name="connsiteX0" fmla="*/ 43352 w 43468"/>
                <a:gd name="connsiteY0" fmla="*/ 501 h 322783"/>
                <a:gd name="connsiteX1" fmla="*/ 43352 w 43468"/>
                <a:gd name="connsiteY1" fmla="*/ 501 h 322783"/>
                <a:gd name="connsiteX2" fmla="*/ 43352 w 43468"/>
                <a:gd name="connsiteY2" fmla="*/ 22 h 322783"/>
                <a:gd name="connsiteX3" fmla="*/ 42873 w 43468"/>
                <a:gd name="connsiteY3" fmla="*/ 207 h 322783"/>
                <a:gd name="connsiteX4" fmla="*/ 18032 w 43468"/>
                <a:gd name="connsiteY4" fmla="*/ 78195 h 322783"/>
                <a:gd name="connsiteX5" fmla="*/ 4284 w 43468"/>
                <a:gd name="connsiteY5" fmla="*/ 159021 h 322783"/>
                <a:gd name="connsiteX6" fmla="*/ 2331 w 43468"/>
                <a:gd name="connsiteY6" fmla="*/ 179439 h 322783"/>
                <a:gd name="connsiteX7" fmla="*/ 1447 w 43468"/>
                <a:gd name="connsiteY7" fmla="*/ 189685 h 322783"/>
                <a:gd name="connsiteX8" fmla="*/ 857 w 43468"/>
                <a:gd name="connsiteY8" fmla="*/ 199931 h 322783"/>
                <a:gd name="connsiteX9" fmla="*/ -28 w 43468"/>
                <a:gd name="connsiteY9" fmla="*/ 220460 h 322783"/>
                <a:gd name="connsiteX10" fmla="*/ -28 w 43468"/>
                <a:gd name="connsiteY10" fmla="*/ 240989 h 322783"/>
                <a:gd name="connsiteX11" fmla="*/ 193 w 43468"/>
                <a:gd name="connsiteY11" fmla="*/ 251235 h 322783"/>
                <a:gd name="connsiteX12" fmla="*/ 820 w 43468"/>
                <a:gd name="connsiteY12" fmla="*/ 261482 h 322783"/>
                <a:gd name="connsiteX13" fmla="*/ 2368 w 43468"/>
                <a:gd name="connsiteY13" fmla="*/ 281937 h 322783"/>
                <a:gd name="connsiteX14" fmla="*/ 7860 w 43468"/>
                <a:gd name="connsiteY14" fmla="*/ 322479 h 322783"/>
                <a:gd name="connsiteX15" fmla="*/ 8191 w 43468"/>
                <a:gd name="connsiteY15" fmla="*/ 322774 h 322783"/>
                <a:gd name="connsiteX16" fmla="*/ 8560 w 43468"/>
                <a:gd name="connsiteY16" fmla="*/ 322483 h 322783"/>
                <a:gd name="connsiteX17" fmla="*/ 8560 w 43468"/>
                <a:gd name="connsiteY17" fmla="*/ 322405 h 322783"/>
                <a:gd name="connsiteX18" fmla="*/ 8560 w 43468"/>
                <a:gd name="connsiteY18" fmla="*/ 322405 h 322783"/>
                <a:gd name="connsiteX19" fmla="*/ 8081 w 43468"/>
                <a:gd name="connsiteY19" fmla="*/ 301913 h 322783"/>
                <a:gd name="connsiteX20" fmla="*/ 7380 w 43468"/>
                <a:gd name="connsiteY20" fmla="*/ 281531 h 322783"/>
                <a:gd name="connsiteX21" fmla="*/ 7159 w 43468"/>
                <a:gd name="connsiteY21" fmla="*/ 261150 h 322783"/>
                <a:gd name="connsiteX22" fmla="*/ 7159 w 43468"/>
                <a:gd name="connsiteY22" fmla="*/ 250978 h 322783"/>
                <a:gd name="connsiteX23" fmla="*/ 7159 w 43468"/>
                <a:gd name="connsiteY23" fmla="*/ 240805 h 322783"/>
                <a:gd name="connsiteX24" fmla="*/ 7159 w 43468"/>
                <a:gd name="connsiteY24" fmla="*/ 220460 h 322783"/>
                <a:gd name="connsiteX25" fmla="*/ 7712 w 43468"/>
                <a:gd name="connsiteY25" fmla="*/ 200116 h 322783"/>
                <a:gd name="connsiteX26" fmla="*/ 7933 w 43468"/>
                <a:gd name="connsiteY26" fmla="*/ 189943 h 322783"/>
                <a:gd name="connsiteX27" fmla="*/ 8523 w 43468"/>
                <a:gd name="connsiteY27" fmla="*/ 179808 h 322783"/>
                <a:gd name="connsiteX28" fmla="*/ 9739 w 43468"/>
                <a:gd name="connsiteY28" fmla="*/ 159463 h 322783"/>
                <a:gd name="connsiteX29" fmla="*/ 21275 w 43468"/>
                <a:gd name="connsiteY29" fmla="*/ 78858 h 322783"/>
                <a:gd name="connsiteX30" fmla="*/ 43352 w 43468"/>
                <a:gd name="connsiteY30" fmla="*/ 501 h 32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3468" h="322783">
                  <a:moveTo>
                    <a:pt x="43352" y="501"/>
                  </a:moveTo>
                  <a:lnTo>
                    <a:pt x="43352" y="501"/>
                  </a:lnTo>
                  <a:cubicBezTo>
                    <a:pt x="43470" y="365"/>
                    <a:pt x="43470" y="159"/>
                    <a:pt x="43352" y="22"/>
                  </a:cubicBezTo>
                  <a:cubicBezTo>
                    <a:pt x="43169" y="-55"/>
                    <a:pt x="42957" y="26"/>
                    <a:pt x="42873" y="207"/>
                  </a:cubicBezTo>
                  <a:cubicBezTo>
                    <a:pt x="32371" y="25442"/>
                    <a:pt x="24059" y="51533"/>
                    <a:pt x="18032" y="78195"/>
                  </a:cubicBezTo>
                  <a:cubicBezTo>
                    <a:pt x="11936" y="104857"/>
                    <a:pt x="7346" y="131843"/>
                    <a:pt x="4284" y="159021"/>
                  </a:cubicBezTo>
                  <a:lnTo>
                    <a:pt x="2331" y="179439"/>
                  </a:lnTo>
                  <a:cubicBezTo>
                    <a:pt x="2036" y="182867"/>
                    <a:pt x="1668" y="186258"/>
                    <a:pt x="1447" y="189685"/>
                  </a:cubicBezTo>
                  <a:lnTo>
                    <a:pt x="857" y="199931"/>
                  </a:lnTo>
                  <a:cubicBezTo>
                    <a:pt x="562" y="206750"/>
                    <a:pt x="157" y="213605"/>
                    <a:pt x="-28" y="220460"/>
                  </a:cubicBezTo>
                  <a:lnTo>
                    <a:pt x="-28" y="240989"/>
                  </a:lnTo>
                  <a:lnTo>
                    <a:pt x="193" y="251235"/>
                  </a:lnTo>
                  <a:cubicBezTo>
                    <a:pt x="193" y="254663"/>
                    <a:pt x="599" y="258091"/>
                    <a:pt x="820" y="261482"/>
                  </a:cubicBezTo>
                  <a:cubicBezTo>
                    <a:pt x="1336" y="268300"/>
                    <a:pt x="1741" y="275155"/>
                    <a:pt x="2368" y="281937"/>
                  </a:cubicBezTo>
                  <a:cubicBezTo>
                    <a:pt x="3695" y="295574"/>
                    <a:pt x="5722" y="309100"/>
                    <a:pt x="7860" y="322479"/>
                  </a:cubicBezTo>
                  <a:cubicBezTo>
                    <a:pt x="7878" y="322648"/>
                    <a:pt x="8022" y="322774"/>
                    <a:pt x="8191" y="322774"/>
                  </a:cubicBezTo>
                  <a:cubicBezTo>
                    <a:pt x="8373" y="322796"/>
                    <a:pt x="8538" y="322667"/>
                    <a:pt x="8560" y="322483"/>
                  </a:cubicBezTo>
                  <a:cubicBezTo>
                    <a:pt x="8563" y="322457"/>
                    <a:pt x="8563" y="322431"/>
                    <a:pt x="8560" y="322405"/>
                  </a:cubicBezTo>
                  <a:lnTo>
                    <a:pt x="8560" y="322405"/>
                  </a:lnTo>
                  <a:cubicBezTo>
                    <a:pt x="8560" y="315550"/>
                    <a:pt x="8228" y="308732"/>
                    <a:pt x="8081" y="301913"/>
                  </a:cubicBezTo>
                  <a:cubicBezTo>
                    <a:pt x="7933" y="295095"/>
                    <a:pt x="7307" y="288350"/>
                    <a:pt x="7380" y="281531"/>
                  </a:cubicBezTo>
                  <a:cubicBezTo>
                    <a:pt x="7454" y="274713"/>
                    <a:pt x="7380" y="267968"/>
                    <a:pt x="7159" y="261150"/>
                  </a:cubicBezTo>
                  <a:lnTo>
                    <a:pt x="7159" y="250978"/>
                  </a:lnTo>
                  <a:lnTo>
                    <a:pt x="7159" y="240805"/>
                  </a:lnTo>
                  <a:lnTo>
                    <a:pt x="7159" y="220460"/>
                  </a:lnTo>
                  <a:lnTo>
                    <a:pt x="7712" y="200116"/>
                  </a:lnTo>
                  <a:lnTo>
                    <a:pt x="7933" y="189943"/>
                  </a:lnTo>
                  <a:cubicBezTo>
                    <a:pt x="7933" y="186553"/>
                    <a:pt x="8339" y="183162"/>
                    <a:pt x="8523" y="179808"/>
                  </a:cubicBezTo>
                  <a:lnTo>
                    <a:pt x="9739" y="159463"/>
                  </a:lnTo>
                  <a:cubicBezTo>
                    <a:pt x="12070" y="132399"/>
                    <a:pt x="15921" y="105491"/>
                    <a:pt x="21275" y="78858"/>
                  </a:cubicBezTo>
                  <a:cubicBezTo>
                    <a:pt x="26363" y="52152"/>
                    <a:pt x="33749" y="25936"/>
                    <a:pt x="43352" y="501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33">
              <a:extLst>
                <a:ext uri="{FF2B5EF4-FFF2-40B4-BE49-F238E27FC236}">
                  <a16:creationId xmlns:a16="http://schemas.microsoft.com/office/drawing/2014/main" id="{CE52F6B5-001A-0C64-0E69-4A9BAF8C473A}"/>
                </a:ext>
              </a:extLst>
            </p:cNvPr>
            <p:cNvSpPr/>
            <p:nvPr/>
          </p:nvSpPr>
          <p:spPr>
            <a:xfrm>
              <a:off x="1085040" y="3038941"/>
              <a:ext cx="27914" cy="212545"/>
            </a:xfrm>
            <a:custGeom>
              <a:avLst/>
              <a:gdLst>
                <a:gd name="connsiteX0" fmla="*/ 27864 w 27914"/>
                <a:gd name="connsiteY0" fmla="*/ 458 h 212545"/>
                <a:gd name="connsiteX1" fmla="*/ 27676 w 27914"/>
                <a:gd name="connsiteY1" fmla="*/ 27 h 212545"/>
                <a:gd name="connsiteX2" fmla="*/ 27642 w 27914"/>
                <a:gd name="connsiteY2" fmla="*/ 16 h 212545"/>
                <a:gd name="connsiteX3" fmla="*/ 27212 w 27914"/>
                <a:gd name="connsiteY3" fmla="*/ 204 h 212545"/>
                <a:gd name="connsiteX4" fmla="*/ 27200 w 27914"/>
                <a:gd name="connsiteY4" fmla="*/ 237 h 212545"/>
                <a:gd name="connsiteX5" fmla="*/ 4165 w 27914"/>
                <a:gd name="connsiteY5" fmla="*/ 105020 h 212545"/>
                <a:gd name="connsiteX6" fmla="*/ 111 w 27914"/>
                <a:gd name="connsiteY6" fmla="*/ 158535 h 212545"/>
                <a:gd name="connsiteX7" fmla="*/ 2027 w 27914"/>
                <a:gd name="connsiteY7" fmla="*/ 212235 h 212545"/>
                <a:gd name="connsiteX8" fmla="*/ 2322 w 27914"/>
                <a:gd name="connsiteY8" fmla="*/ 212530 h 212545"/>
                <a:gd name="connsiteX9" fmla="*/ 2720 w 27914"/>
                <a:gd name="connsiteY9" fmla="*/ 212283 h 212545"/>
                <a:gd name="connsiteX10" fmla="*/ 2728 w 27914"/>
                <a:gd name="connsiteY10" fmla="*/ 212235 h 212545"/>
                <a:gd name="connsiteX11" fmla="*/ 7298 w 27914"/>
                <a:gd name="connsiteY11" fmla="*/ 158830 h 212545"/>
                <a:gd name="connsiteX12" fmla="*/ 9878 w 27914"/>
                <a:gd name="connsiteY12" fmla="*/ 105499 h 212545"/>
                <a:gd name="connsiteX13" fmla="*/ 16180 w 27914"/>
                <a:gd name="connsiteY13" fmla="*/ 52573 h 212545"/>
                <a:gd name="connsiteX14" fmla="*/ 27864 w 27914"/>
                <a:gd name="connsiteY14" fmla="*/ 458 h 21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914" h="212545">
                  <a:moveTo>
                    <a:pt x="27864" y="458"/>
                  </a:moveTo>
                  <a:cubicBezTo>
                    <a:pt x="27930" y="289"/>
                    <a:pt x="27849" y="97"/>
                    <a:pt x="27676" y="27"/>
                  </a:cubicBezTo>
                  <a:cubicBezTo>
                    <a:pt x="27665" y="23"/>
                    <a:pt x="27654" y="20"/>
                    <a:pt x="27642" y="16"/>
                  </a:cubicBezTo>
                  <a:cubicBezTo>
                    <a:pt x="27473" y="-50"/>
                    <a:pt x="27278" y="31"/>
                    <a:pt x="27212" y="204"/>
                  </a:cubicBezTo>
                  <a:cubicBezTo>
                    <a:pt x="27207" y="215"/>
                    <a:pt x="27204" y="226"/>
                    <a:pt x="27200" y="237"/>
                  </a:cubicBezTo>
                  <a:cubicBezTo>
                    <a:pt x="15572" y="34178"/>
                    <a:pt x="7844" y="69332"/>
                    <a:pt x="4165" y="105020"/>
                  </a:cubicBezTo>
                  <a:cubicBezTo>
                    <a:pt x="2359" y="122822"/>
                    <a:pt x="479" y="140623"/>
                    <a:pt x="111" y="158535"/>
                  </a:cubicBezTo>
                  <a:cubicBezTo>
                    <a:pt x="-337" y="176459"/>
                    <a:pt x="302" y="194389"/>
                    <a:pt x="2027" y="212235"/>
                  </a:cubicBezTo>
                  <a:cubicBezTo>
                    <a:pt x="2044" y="212390"/>
                    <a:pt x="2167" y="212515"/>
                    <a:pt x="2322" y="212530"/>
                  </a:cubicBezTo>
                  <a:cubicBezTo>
                    <a:pt x="2501" y="212571"/>
                    <a:pt x="2679" y="212460"/>
                    <a:pt x="2720" y="212283"/>
                  </a:cubicBezTo>
                  <a:cubicBezTo>
                    <a:pt x="2724" y="212265"/>
                    <a:pt x="2726" y="212250"/>
                    <a:pt x="2728" y="212235"/>
                  </a:cubicBezTo>
                  <a:cubicBezTo>
                    <a:pt x="4792" y="194397"/>
                    <a:pt x="6082" y="176632"/>
                    <a:pt x="7298" y="158830"/>
                  </a:cubicBezTo>
                  <a:cubicBezTo>
                    <a:pt x="8514" y="141029"/>
                    <a:pt x="8735" y="123264"/>
                    <a:pt x="9878" y="105499"/>
                  </a:cubicBezTo>
                  <a:cubicBezTo>
                    <a:pt x="10985" y="87753"/>
                    <a:pt x="13089" y="70084"/>
                    <a:pt x="16180" y="52573"/>
                  </a:cubicBezTo>
                  <a:cubicBezTo>
                    <a:pt x="19119" y="35000"/>
                    <a:pt x="23020" y="17604"/>
                    <a:pt x="27864" y="458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35">
              <a:extLst>
                <a:ext uri="{FF2B5EF4-FFF2-40B4-BE49-F238E27FC236}">
                  <a16:creationId xmlns:a16="http://schemas.microsoft.com/office/drawing/2014/main" id="{5FA082EB-86A5-332C-2D21-397273279574}"/>
                </a:ext>
              </a:extLst>
            </p:cNvPr>
            <p:cNvSpPr/>
            <p:nvPr/>
          </p:nvSpPr>
          <p:spPr>
            <a:xfrm>
              <a:off x="1098301" y="3076721"/>
              <a:ext cx="73664" cy="185305"/>
            </a:xfrm>
            <a:custGeom>
              <a:avLst/>
              <a:gdLst>
                <a:gd name="connsiteX0" fmla="*/ 73610 w 73664"/>
                <a:gd name="connsiteY0" fmla="*/ 87 h 185305"/>
                <a:gd name="connsiteX1" fmla="*/ 73094 w 73664"/>
                <a:gd name="connsiteY1" fmla="*/ 87 h 185305"/>
                <a:gd name="connsiteX2" fmla="*/ 33658 w 73664"/>
                <a:gd name="connsiteY2" fmla="*/ 34474 h 185305"/>
                <a:gd name="connsiteX3" fmla="*/ 18252 w 73664"/>
                <a:gd name="connsiteY3" fmla="*/ 55924 h 185305"/>
                <a:gd name="connsiteX4" fmla="*/ 15082 w 73664"/>
                <a:gd name="connsiteY4" fmla="*/ 61674 h 185305"/>
                <a:gd name="connsiteX5" fmla="*/ 12576 w 73664"/>
                <a:gd name="connsiteY5" fmla="*/ 67903 h 185305"/>
                <a:gd name="connsiteX6" fmla="*/ 10438 w 73664"/>
                <a:gd name="connsiteY6" fmla="*/ 74205 h 185305"/>
                <a:gd name="connsiteX7" fmla="*/ 8522 w 73664"/>
                <a:gd name="connsiteY7" fmla="*/ 80544 h 185305"/>
                <a:gd name="connsiteX8" fmla="*/ 340 w 73664"/>
                <a:gd name="connsiteY8" fmla="*/ 132586 h 185305"/>
                <a:gd name="connsiteX9" fmla="*/ 2293 w 73664"/>
                <a:gd name="connsiteY9" fmla="*/ 184995 h 185305"/>
                <a:gd name="connsiteX10" fmla="*/ 2625 w 73664"/>
                <a:gd name="connsiteY10" fmla="*/ 185290 h 185305"/>
                <a:gd name="connsiteX11" fmla="*/ 3022 w 73664"/>
                <a:gd name="connsiteY11" fmla="*/ 185040 h 185305"/>
                <a:gd name="connsiteX12" fmla="*/ 3030 w 73664"/>
                <a:gd name="connsiteY12" fmla="*/ 184959 h 185305"/>
                <a:gd name="connsiteX13" fmla="*/ 7527 w 73664"/>
                <a:gd name="connsiteY13" fmla="*/ 133102 h 185305"/>
                <a:gd name="connsiteX14" fmla="*/ 13977 w 73664"/>
                <a:gd name="connsiteY14" fmla="*/ 82056 h 185305"/>
                <a:gd name="connsiteX15" fmla="*/ 15561 w 73664"/>
                <a:gd name="connsiteY15" fmla="*/ 75864 h 185305"/>
                <a:gd name="connsiteX16" fmla="*/ 17404 w 73664"/>
                <a:gd name="connsiteY16" fmla="*/ 69746 h 185305"/>
                <a:gd name="connsiteX17" fmla="*/ 19505 w 73664"/>
                <a:gd name="connsiteY17" fmla="*/ 63775 h 185305"/>
                <a:gd name="connsiteX18" fmla="*/ 22196 w 73664"/>
                <a:gd name="connsiteY18" fmla="*/ 58099 h 185305"/>
                <a:gd name="connsiteX19" fmla="*/ 36348 w 73664"/>
                <a:gd name="connsiteY19" fmla="*/ 36648 h 185305"/>
                <a:gd name="connsiteX20" fmla="*/ 73389 w 73664"/>
                <a:gd name="connsiteY20" fmla="*/ 603 h 185305"/>
                <a:gd name="connsiteX21" fmla="*/ 73389 w 73664"/>
                <a:gd name="connsiteY21" fmla="*/ 603 h 185305"/>
                <a:gd name="connsiteX22" fmla="*/ 73610 w 73664"/>
                <a:gd name="connsiteY22" fmla="*/ 87 h 18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3664" h="185305">
                  <a:moveTo>
                    <a:pt x="73610" y="87"/>
                  </a:moveTo>
                  <a:cubicBezTo>
                    <a:pt x="73459" y="-38"/>
                    <a:pt x="73245" y="-38"/>
                    <a:pt x="73094" y="87"/>
                  </a:cubicBezTo>
                  <a:cubicBezTo>
                    <a:pt x="58348" y="9574"/>
                    <a:pt x="45065" y="21158"/>
                    <a:pt x="33658" y="34474"/>
                  </a:cubicBezTo>
                  <a:cubicBezTo>
                    <a:pt x="27938" y="41186"/>
                    <a:pt x="22782" y="48358"/>
                    <a:pt x="18252" y="55924"/>
                  </a:cubicBezTo>
                  <a:lnTo>
                    <a:pt x="15082" y="61674"/>
                  </a:lnTo>
                  <a:lnTo>
                    <a:pt x="12576" y="67903"/>
                  </a:lnTo>
                  <a:cubicBezTo>
                    <a:pt x="11738" y="69959"/>
                    <a:pt x="11024" y="72064"/>
                    <a:pt x="10438" y="74205"/>
                  </a:cubicBezTo>
                  <a:cubicBezTo>
                    <a:pt x="9775" y="76306"/>
                    <a:pt x="9075" y="78444"/>
                    <a:pt x="8522" y="80544"/>
                  </a:cubicBezTo>
                  <a:cubicBezTo>
                    <a:pt x="3990" y="97561"/>
                    <a:pt x="1248" y="115002"/>
                    <a:pt x="340" y="132586"/>
                  </a:cubicBezTo>
                  <a:cubicBezTo>
                    <a:pt x="-522" y="150078"/>
                    <a:pt x="132" y="167614"/>
                    <a:pt x="2293" y="184995"/>
                  </a:cubicBezTo>
                  <a:cubicBezTo>
                    <a:pt x="2335" y="185150"/>
                    <a:pt x="2466" y="185268"/>
                    <a:pt x="2625" y="185290"/>
                  </a:cubicBezTo>
                  <a:cubicBezTo>
                    <a:pt x="2804" y="185331"/>
                    <a:pt x="2981" y="185220"/>
                    <a:pt x="3022" y="185040"/>
                  </a:cubicBezTo>
                  <a:cubicBezTo>
                    <a:pt x="3028" y="185014"/>
                    <a:pt x="3031" y="184984"/>
                    <a:pt x="3030" y="184959"/>
                  </a:cubicBezTo>
                  <a:lnTo>
                    <a:pt x="7527" y="133102"/>
                  </a:lnTo>
                  <a:cubicBezTo>
                    <a:pt x="8711" y="115978"/>
                    <a:pt x="10864" y="98936"/>
                    <a:pt x="13977" y="82056"/>
                  </a:cubicBezTo>
                  <a:cubicBezTo>
                    <a:pt x="14456" y="79955"/>
                    <a:pt x="15045" y="77928"/>
                    <a:pt x="15561" y="75864"/>
                  </a:cubicBezTo>
                  <a:cubicBezTo>
                    <a:pt x="16063" y="73792"/>
                    <a:pt x="16678" y="71751"/>
                    <a:pt x="17404" y="69746"/>
                  </a:cubicBezTo>
                  <a:lnTo>
                    <a:pt x="19505" y="63775"/>
                  </a:lnTo>
                  <a:lnTo>
                    <a:pt x="22196" y="58099"/>
                  </a:lnTo>
                  <a:cubicBezTo>
                    <a:pt x="26309" y="50565"/>
                    <a:pt x="31041" y="43393"/>
                    <a:pt x="36348" y="36648"/>
                  </a:cubicBezTo>
                  <a:cubicBezTo>
                    <a:pt x="46875" y="22894"/>
                    <a:pt x="59354" y="10753"/>
                    <a:pt x="73389" y="603"/>
                  </a:cubicBezTo>
                  <a:lnTo>
                    <a:pt x="73389" y="603"/>
                  </a:lnTo>
                  <a:cubicBezTo>
                    <a:pt x="73588" y="518"/>
                    <a:pt x="73688" y="290"/>
                    <a:pt x="73610" y="87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36">
              <a:extLst>
                <a:ext uri="{FF2B5EF4-FFF2-40B4-BE49-F238E27FC236}">
                  <a16:creationId xmlns:a16="http://schemas.microsoft.com/office/drawing/2014/main" id="{C933809F-4A87-A75A-3C91-08393DAAC159}"/>
                </a:ext>
              </a:extLst>
            </p:cNvPr>
            <p:cNvSpPr/>
            <p:nvPr/>
          </p:nvSpPr>
          <p:spPr>
            <a:xfrm>
              <a:off x="1110278" y="3143452"/>
              <a:ext cx="33443" cy="104159"/>
            </a:xfrm>
            <a:custGeom>
              <a:avLst/>
              <a:gdLst>
                <a:gd name="connsiteX0" fmla="*/ 33069 w 33443"/>
                <a:gd name="connsiteY0" fmla="*/ -7 h 104159"/>
                <a:gd name="connsiteX1" fmla="*/ 15120 w 33443"/>
                <a:gd name="connsiteY1" fmla="*/ 21554 h 104159"/>
                <a:gd name="connsiteX2" fmla="*/ 5095 w 33443"/>
                <a:gd name="connsiteY2" fmla="*/ 47980 h 104159"/>
                <a:gd name="connsiteX3" fmla="*/ 3326 w 33443"/>
                <a:gd name="connsiteY3" fmla="*/ 54835 h 104159"/>
                <a:gd name="connsiteX4" fmla="*/ 1705 w 33443"/>
                <a:gd name="connsiteY4" fmla="*/ 61727 h 104159"/>
                <a:gd name="connsiteX5" fmla="*/ -28 w 33443"/>
                <a:gd name="connsiteY5" fmla="*/ 75733 h 104159"/>
                <a:gd name="connsiteX6" fmla="*/ -28 w 33443"/>
                <a:gd name="connsiteY6" fmla="*/ 89849 h 104159"/>
                <a:gd name="connsiteX7" fmla="*/ 1815 w 33443"/>
                <a:gd name="connsiteY7" fmla="*/ 103854 h 104159"/>
                <a:gd name="connsiteX8" fmla="*/ 2110 w 33443"/>
                <a:gd name="connsiteY8" fmla="*/ 104149 h 104159"/>
                <a:gd name="connsiteX9" fmla="*/ 2552 w 33443"/>
                <a:gd name="connsiteY9" fmla="*/ 103854 h 104159"/>
                <a:gd name="connsiteX10" fmla="*/ 5022 w 33443"/>
                <a:gd name="connsiteY10" fmla="*/ 90070 h 104159"/>
                <a:gd name="connsiteX11" fmla="*/ 7012 w 33443"/>
                <a:gd name="connsiteY11" fmla="*/ 76396 h 104159"/>
                <a:gd name="connsiteX12" fmla="*/ 8634 w 33443"/>
                <a:gd name="connsiteY12" fmla="*/ 62833 h 104159"/>
                <a:gd name="connsiteX13" fmla="*/ 10587 w 33443"/>
                <a:gd name="connsiteY13" fmla="*/ 49270 h 104159"/>
                <a:gd name="connsiteX14" fmla="*/ 18290 w 33443"/>
                <a:gd name="connsiteY14" fmla="*/ 23102 h 104159"/>
                <a:gd name="connsiteX15" fmla="*/ 33327 w 33443"/>
                <a:gd name="connsiteY15" fmla="*/ 620 h 104159"/>
                <a:gd name="connsiteX16" fmla="*/ 33327 w 33443"/>
                <a:gd name="connsiteY16" fmla="*/ 620 h 104159"/>
                <a:gd name="connsiteX17" fmla="*/ 33327 w 33443"/>
                <a:gd name="connsiteY17" fmla="*/ 140 h 104159"/>
                <a:gd name="connsiteX18" fmla="*/ 33069 w 33443"/>
                <a:gd name="connsiteY18" fmla="*/ -7 h 10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443" h="104159">
                  <a:moveTo>
                    <a:pt x="33069" y="-7"/>
                  </a:moveTo>
                  <a:cubicBezTo>
                    <a:pt x="25407" y="5599"/>
                    <a:pt x="19245" y="13003"/>
                    <a:pt x="15120" y="21554"/>
                  </a:cubicBezTo>
                  <a:cubicBezTo>
                    <a:pt x="10819" y="29968"/>
                    <a:pt x="7458" y="38829"/>
                    <a:pt x="5095" y="47980"/>
                  </a:cubicBezTo>
                  <a:cubicBezTo>
                    <a:pt x="4395" y="50228"/>
                    <a:pt x="3842" y="52513"/>
                    <a:pt x="3326" y="54835"/>
                  </a:cubicBezTo>
                  <a:lnTo>
                    <a:pt x="1705" y="61727"/>
                  </a:lnTo>
                  <a:cubicBezTo>
                    <a:pt x="853" y="66357"/>
                    <a:pt x="275" y="71034"/>
                    <a:pt x="-28" y="75733"/>
                  </a:cubicBezTo>
                  <a:cubicBezTo>
                    <a:pt x="-28" y="80451"/>
                    <a:pt x="-28" y="85131"/>
                    <a:pt x="-28" y="89849"/>
                  </a:cubicBezTo>
                  <a:cubicBezTo>
                    <a:pt x="330" y="94548"/>
                    <a:pt x="946" y="99222"/>
                    <a:pt x="1815" y="103854"/>
                  </a:cubicBezTo>
                  <a:cubicBezTo>
                    <a:pt x="1863" y="103991"/>
                    <a:pt x="1972" y="104101"/>
                    <a:pt x="2110" y="104149"/>
                  </a:cubicBezTo>
                  <a:cubicBezTo>
                    <a:pt x="2309" y="104175"/>
                    <a:pt x="2497" y="104050"/>
                    <a:pt x="2552" y="103854"/>
                  </a:cubicBezTo>
                  <a:cubicBezTo>
                    <a:pt x="3636" y="99310"/>
                    <a:pt x="4461" y="94707"/>
                    <a:pt x="5022" y="90070"/>
                  </a:cubicBezTo>
                  <a:cubicBezTo>
                    <a:pt x="5759" y="85500"/>
                    <a:pt x="6459" y="80967"/>
                    <a:pt x="7012" y="76396"/>
                  </a:cubicBezTo>
                  <a:cubicBezTo>
                    <a:pt x="7565" y="71826"/>
                    <a:pt x="8265" y="67367"/>
                    <a:pt x="8634" y="62833"/>
                  </a:cubicBezTo>
                  <a:cubicBezTo>
                    <a:pt x="9002" y="58300"/>
                    <a:pt x="9592" y="53730"/>
                    <a:pt x="10587" y="49270"/>
                  </a:cubicBezTo>
                  <a:cubicBezTo>
                    <a:pt x="12168" y="40288"/>
                    <a:pt x="14752" y="31509"/>
                    <a:pt x="18290" y="23102"/>
                  </a:cubicBezTo>
                  <a:cubicBezTo>
                    <a:pt x="21449" y="14522"/>
                    <a:pt x="26601" y="6815"/>
                    <a:pt x="33327" y="620"/>
                  </a:cubicBezTo>
                  <a:lnTo>
                    <a:pt x="33327" y="620"/>
                  </a:lnTo>
                  <a:cubicBezTo>
                    <a:pt x="33445" y="483"/>
                    <a:pt x="33445" y="277"/>
                    <a:pt x="33327" y="140"/>
                  </a:cubicBezTo>
                  <a:cubicBezTo>
                    <a:pt x="33265" y="56"/>
                    <a:pt x="33173" y="4"/>
                    <a:pt x="33069" y="-7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37">
              <a:extLst>
                <a:ext uri="{FF2B5EF4-FFF2-40B4-BE49-F238E27FC236}">
                  <a16:creationId xmlns:a16="http://schemas.microsoft.com/office/drawing/2014/main" id="{CBDB3FCA-FE2D-FEA1-C921-15C6F3B8ECCD}"/>
                </a:ext>
              </a:extLst>
            </p:cNvPr>
            <p:cNvSpPr/>
            <p:nvPr/>
          </p:nvSpPr>
          <p:spPr>
            <a:xfrm>
              <a:off x="1025213" y="2990576"/>
              <a:ext cx="38106" cy="274318"/>
            </a:xfrm>
            <a:custGeom>
              <a:avLst/>
              <a:gdLst>
                <a:gd name="connsiteX0" fmla="*/ 35465 w 38106"/>
                <a:gd name="connsiteY0" fmla="*/ 204837 h 274318"/>
                <a:gd name="connsiteX1" fmla="*/ 26140 w 38106"/>
                <a:gd name="connsiteY1" fmla="*/ 136247 h 274318"/>
                <a:gd name="connsiteX2" fmla="*/ 14383 w 38106"/>
                <a:gd name="connsiteY2" fmla="*/ 68063 h 274318"/>
                <a:gd name="connsiteX3" fmla="*/ 673 w 38106"/>
                <a:gd name="connsiteY3" fmla="*/ 247 h 274318"/>
                <a:gd name="connsiteX4" fmla="*/ 207 w 38106"/>
                <a:gd name="connsiteY4" fmla="*/ 11 h 274318"/>
                <a:gd name="connsiteX5" fmla="*/ -28 w 38106"/>
                <a:gd name="connsiteY5" fmla="*/ 247 h 274318"/>
                <a:gd name="connsiteX6" fmla="*/ 11029 w 38106"/>
                <a:gd name="connsiteY6" fmla="*/ 68505 h 274318"/>
                <a:gd name="connsiteX7" fmla="*/ 20612 w 38106"/>
                <a:gd name="connsiteY7" fmla="*/ 136910 h 274318"/>
                <a:gd name="connsiteX8" fmla="*/ 28499 w 38106"/>
                <a:gd name="connsiteY8" fmla="*/ 205463 h 274318"/>
                <a:gd name="connsiteX9" fmla="*/ 36902 w 38106"/>
                <a:gd name="connsiteY9" fmla="*/ 274016 h 274318"/>
                <a:gd name="connsiteX10" fmla="*/ 37271 w 38106"/>
                <a:gd name="connsiteY10" fmla="*/ 274311 h 274318"/>
                <a:gd name="connsiteX11" fmla="*/ 37639 w 38106"/>
                <a:gd name="connsiteY11" fmla="*/ 273979 h 274318"/>
                <a:gd name="connsiteX12" fmla="*/ 38045 w 38106"/>
                <a:gd name="connsiteY12" fmla="*/ 256620 h 274318"/>
                <a:gd name="connsiteX13" fmla="*/ 37713 w 38106"/>
                <a:gd name="connsiteY13" fmla="*/ 239298 h 274318"/>
                <a:gd name="connsiteX14" fmla="*/ 35465 w 38106"/>
                <a:gd name="connsiteY14" fmla="*/ 204837 h 274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106" h="274318">
                  <a:moveTo>
                    <a:pt x="35465" y="204837"/>
                  </a:moveTo>
                  <a:cubicBezTo>
                    <a:pt x="33512" y="181801"/>
                    <a:pt x="29715" y="159024"/>
                    <a:pt x="26140" y="136247"/>
                  </a:cubicBezTo>
                  <a:cubicBezTo>
                    <a:pt x="22565" y="113470"/>
                    <a:pt x="18548" y="90729"/>
                    <a:pt x="14383" y="68063"/>
                  </a:cubicBezTo>
                  <a:cubicBezTo>
                    <a:pt x="10218" y="45396"/>
                    <a:pt x="5574" y="22803"/>
                    <a:pt x="673" y="247"/>
                  </a:cubicBezTo>
                  <a:cubicBezTo>
                    <a:pt x="609" y="55"/>
                    <a:pt x="401" y="-52"/>
                    <a:pt x="207" y="11"/>
                  </a:cubicBezTo>
                  <a:cubicBezTo>
                    <a:pt x="96" y="48"/>
                    <a:pt x="9" y="136"/>
                    <a:pt x="-28" y="247"/>
                  </a:cubicBezTo>
                  <a:cubicBezTo>
                    <a:pt x="3916" y="22950"/>
                    <a:pt x="7344" y="45728"/>
                    <a:pt x="11029" y="68505"/>
                  </a:cubicBezTo>
                  <a:cubicBezTo>
                    <a:pt x="14715" y="91282"/>
                    <a:pt x="17737" y="114059"/>
                    <a:pt x="20612" y="136910"/>
                  </a:cubicBezTo>
                  <a:cubicBezTo>
                    <a:pt x="23487" y="159761"/>
                    <a:pt x="25624" y="182649"/>
                    <a:pt x="28499" y="205463"/>
                  </a:cubicBezTo>
                  <a:lnTo>
                    <a:pt x="36902" y="274016"/>
                  </a:lnTo>
                  <a:cubicBezTo>
                    <a:pt x="36950" y="274182"/>
                    <a:pt x="37098" y="274300"/>
                    <a:pt x="37271" y="274311"/>
                  </a:cubicBezTo>
                  <a:cubicBezTo>
                    <a:pt x="37455" y="274296"/>
                    <a:pt x="37606" y="274160"/>
                    <a:pt x="37639" y="273979"/>
                  </a:cubicBezTo>
                  <a:cubicBezTo>
                    <a:pt x="37898" y="268193"/>
                    <a:pt x="37898" y="262406"/>
                    <a:pt x="38045" y="256620"/>
                  </a:cubicBezTo>
                  <a:cubicBezTo>
                    <a:pt x="38192" y="250834"/>
                    <a:pt x="37824" y="245084"/>
                    <a:pt x="37713" y="239298"/>
                  </a:cubicBezTo>
                  <a:cubicBezTo>
                    <a:pt x="37271" y="227872"/>
                    <a:pt x="36276" y="216373"/>
                    <a:pt x="35465" y="204837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38">
              <a:extLst>
                <a:ext uri="{FF2B5EF4-FFF2-40B4-BE49-F238E27FC236}">
                  <a16:creationId xmlns:a16="http://schemas.microsoft.com/office/drawing/2014/main" id="{D5A46A89-7C23-0DCF-2020-5BE7A5775546}"/>
                </a:ext>
              </a:extLst>
            </p:cNvPr>
            <p:cNvSpPr/>
            <p:nvPr/>
          </p:nvSpPr>
          <p:spPr>
            <a:xfrm>
              <a:off x="988399" y="3041750"/>
              <a:ext cx="61618" cy="208658"/>
            </a:xfrm>
            <a:custGeom>
              <a:avLst/>
              <a:gdLst>
                <a:gd name="connsiteX0" fmla="*/ 58421 w 61618"/>
                <a:gd name="connsiteY0" fmla="*/ 153330 h 208658"/>
                <a:gd name="connsiteX1" fmla="*/ 53777 w 61618"/>
                <a:gd name="connsiteY1" fmla="*/ 126130 h 208658"/>
                <a:gd name="connsiteX2" fmla="*/ 50534 w 61618"/>
                <a:gd name="connsiteY2" fmla="*/ 112678 h 208658"/>
                <a:gd name="connsiteX3" fmla="*/ 47180 w 61618"/>
                <a:gd name="connsiteY3" fmla="*/ 99262 h 208658"/>
                <a:gd name="connsiteX4" fmla="*/ 29563 w 61618"/>
                <a:gd name="connsiteY4" fmla="*/ 46889 h 208658"/>
                <a:gd name="connsiteX5" fmla="*/ 26798 w 61618"/>
                <a:gd name="connsiteY5" fmla="*/ 40550 h 208658"/>
                <a:gd name="connsiteX6" fmla="*/ 23739 w 61618"/>
                <a:gd name="connsiteY6" fmla="*/ 34358 h 208658"/>
                <a:gd name="connsiteX7" fmla="*/ 17179 w 61618"/>
                <a:gd name="connsiteY7" fmla="*/ 22195 h 208658"/>
                <a:gd name="connsiteX8" fmla="*/ 557 w 61618"/>
                <a:gd name="connsiteY8" fmla="*/ 81 h 208658"/>
                <a:gd name="connsiteX9" fmla="*/ 78 w 61618"/>
                <a:gd name="connsiteY9" fmla="*/ 81 h 208658"/>
                <a:gd name="connsiteX10" fmla="*/ 78 w 61618"/>
                <a:gd name="connsiteY10" fmla="*/ 597 h 208658"/>
                <a:gd name="connsiteX11" fmla="*/ 78 w 61618"/>
                <a:gd name="connsiteY11" fmla="*/ 597 h 208658"/>
                <a:gd name="connsiteX12" fmla="*/ 15262 w 61618"/>
                <a:gd name="connsiteY12" fmla="*/ 23117 h 208658"/>
                <a:gd name="connsiteX13" fmla="*/ 21086 w 61618"/>
                <a:gd name="connsiteY13" fmla="*/ 35464 h 208658"/>
                <a:gd name="connsiteX14" fmla="*/ 23813 w 61618"/>
                <a:gd name="connsiteY14" fmla="*/ 41729 h 208658"/>
                <a:gd name="connsiteX15" fmla="*/ 26209 w 61618"/>
                <a:gd name="connsiteY15" fmla="*/ 48142 h 208658"/>
                <a:gd name="connsiteX16" fmla="*/ 41541 w 61618"/>
                <a:gd name="connsiteY16" fmla="*/ 100515 h 208658"/>
                <a:gd name="connsiteX17" fmla="*/ 46738 w 61618"/>
                <a:gd name="connsiteY17" fmla="*/ 127347 h 208658"/>
                <a:gd name="connsiteX18" fmla="*/ 48912 w 61618"/>
                <a:gd name="connsiteY18" fmla="*/ 140836 h 208658"/>
                <a:gd name="connsiteX19" fmla="*/ 51271 w 61618"/>
                <a:gd name="connsiteY19" fmla="*/ 154289 h 208658"/>
                <a:gd name="connsiteX20" fmla="*/ 55952 w 61618"/>
                <a:gd name="connsiteY20" fmla="*/ 181304 h 208658"/>
                <a:gd name="connsiteX21" fmla="*/ 60891 w 61618"/>
                <a:gd name="connsiteY21" fmla="*/ 208357 h 208658"/>
                <a:gd name="connsiteX22" fmla="*/ 61259 w 61618"/>
                <a:gd name="connsiteY22" fmla="*/ 208652 h 208658"/>
                <a:gd name="connsiteX23" fmla="*/ 61591 w 61618"/>
                <a:gd name="connsiteY23" fmla="*/ 208320 h 208658"/>
                <a:gd name="connsiteX24" fmla="*/ 60964 w 61618"/>
                <a:gd name="connsiteY24" fmla="*/ 180715 h 208658"/>
                <a:gd name="connsiteX25" fmla="*/ 58421 w 61618"/>
                <a:gd name="connsiteY25" fmla="*/ 153330 h 208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1618" h="208658">
                  <a:moveTo>
                    <a:pt x="58421" y="153330"/>
                  </a:moveTo>
                  <a:cubicBezTo>
                    <a:pt x="57205" y="144227"/>
                    <a:pt x="55510" y="135160"/>
                    <a:pt x="53777" y="126130"/>
                  </a:cubicBezTo>
                  <a:lnTo>
                    <a:pt x="50534" y="112678"/>
                  </a:lnTo>
                  <a:cubicBezTo>
                    <a:pt x="49465" y="108181"/>
                    <a:pt x="48470" y="103685"/>
                    <a:pt x="47180" y="99262"/>
                  </a:cubicBezTo>
                  <a:cubicBezTo>
                    <a:pt x="42586" y="81401"/>
                    <a:pt x="36698" y="63895"/>
                    <a:pt x="29563" y="46889"/>
                  </a:cubicBezTo>
                  <a:lnTo>
                    <a:pt x="26798" y="40550"/>
                  </a:lnTo>
                  <a:lnTo>
                    <a:pt x="23739" y="34358"/>
                  </a:lnTo>
                  <a:cubicBezTo>
                    <a:pt x="21786" y="30193"/>
                    <a:pt x="19427" y="26213"/>
                    <a:pt x="17179" y="22195"/>
                  </a:cubicBezTo>
                  <a:cubicBezTo>
                    <a:pt x="12670" y="14102"/>
                    <a:pt x="7078" y="6664"/>
                    <a:pt x="557" y="81"/>
                  </a:cubicBezTo>
                  <a:cubicBezTo>
                    <a:pt x="419" y="-36"/>
                    <a:pt x="215" y="-36"/>
                    <a:pt x="78" y="81"/>
                  </a:cubicBezTo>
                  <a:cubicBezTo>
                    <a:pt x="-63" y="225"/>
                    <a:pt x="-63" y="454"/>
                    <a:pt x="78" y="597"/>
                  </a:cubicBezTo>
                  <a:lnTo>
                    <a:pt x="78" y="597"/>
                  </a:lnTo>
                  <a:cubicBezTo>
                    <a:pt x="6121" y="7394"/>
                    <a:pt x="11228" y="14968"/>
                    <a:pt x="15262" y="23117"/>
                  </a:cubicBezTo>
                  <a:cubicBezTo>
                    <a:pt x="17253" y="27208"/>
                    <a:pt x="19390" y="31262"/>
                    <a:pt x="21086" y="35464"/>
                  </a:cubicBezTo>
                  <a:lnTo>
                    <a:pt x="23813" y="41729"/>
                  </a:lnTo>
                  <a:lnTo>
                    <a:pt x="26209" y="48142"/>
                  </a:lnTo>
                  <a:cubicBezTo>
                    <a:pt x="32583" y="65203"/>
                    <a:pt x="37708" y="82710"/>
                    <a:pt x="41541" y="100515"/>
                  </a:cubicBezTo>
                  <a:cubicBezTo>
                    <a:pt x="43642" y="109398"/>
                    <a:pt x="45227" y="118427"/>
                    <a:pt x="46738" y="127347"/>
                  </a:cubicBezTo>
                  <a:lnTo>
                    <a:pt x="48912" y="140836"/>
                  </a:lnTo>
                  <a:cubicBezTo>
                    <a:pt x="49686" y="145333"/>
                    <a:pt x="50645" y="149792"/>
                    <a:pt x="51271" y="154289"/>
                  </a:cubicBezTo>
                  <a:cubicBezTo>
                    <a:pt x="52709" y="163318"/>
                    <a:pt x="54367" y="172275"/>
                    <a:pt x="55952" y="181304"/>
                  </a:cubicBezTo>
                  <a:cubicBezTo>
                    <a:pt x="57537" y="190334"/>
                    <a:pt x="58974" y="199327"/>
                    <a:pt x="60891" y="208357"/>
                  </a:cubicBezTo>
                  <a:cubicBezTo>
                    <a:pt x="60926" y="208530"/>
                    <a:pt x="61081" y="208655"/>
                    <a:pt x="61259" y="208652"/>
                  </a:cubicBezTo>
                  <a:cubicBezTo>
                    <a:pt x="61442" y="208652"/>
                    <a:pt x="61591" y="208504"/>
                    <a:pt x="61591" y="208320"/>
                  </a:cubicBezTo>
                  <a:cubicBezTo>
                    <a:pt x="61591" y="199106"/>
                    <a:pt x="61382" y="189903"/>
                    <a:pt x="60964" y="180715"/>
                  </a:cubicBezTo>
                  <a:cubicBezTo>
                    <a:pt x="60448" y="171648"/>
                    <a:pt x="59380" y="162508"/>
                    <a:pt x="58421" y="153330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39">
              <a:extLst>
                <a:ext uri="{FF2B5EF4-FFF2-40B4-BE49-F238E27FC236}">
                  <a16:creationId xmlns:a16="http://schemas.microsoft.com/office/drawing/2014/main" id="{632C774D-EAFA-55D4-BDE1-2FD4157DA514}"/>
                </a:ext>
              </a:extLst>
            </p:cNvPr>
            <p:cNvSpPr/>
            <p:nvPr/>
          </p:nvSpPr>
          <p:spPr>
            <a:xfrm>
              <a:off x="994038" y="3127047"/>
              <a:ext cx="48174" cy="144925"/>
            </a:xfrm>
            <a:custGeom>
              <a:avLst/>
              <a:gdLst>
                <a:gd name="connsiteX0" fmla="*/ 33727 w 48174"/>
                <a:gd name="connsiteY0" fmla="*/ 69213 h 144925"/>
                <a:gd name="connsiteX1" fmla="*/ 18985 w 48174"/>
                <a:gd name="connsiteY1" fmla="*/ 33720 h 144925"/>
                <a:gd name="connsiteX2" fmla="*/ 557 w 48174"/>
                <a:gd name="connsiteY2" fmla="*/ 70 h 144925"/>
                <a:gd name="connsiteX3" fmla="*/ 78 w 48174"/>
                <a:gd name="connsiteY3" fmla="*/ 70 h 144925"/>
                <a:gd name="connsiteX4" fmla="*/ 78 w 48174"/>
                <a:gd name="connsiteY4" fmla="*/ 586 h 144925"/>
                <a:gd name="connsiteX5" fmla="*/ 15742 w 48174"/>
                <a:gd name="connsiteY5" fmla="*/ 35231 h 144925"/>
                <a:gd name="connsiteX6" fmla="*/ 28162 w 48174"/>
                <a:gd name="connsiteY6" fmla="*/ 71130 h 144925"/>
                <a:gd name="connsiteX7" fmla="*/ 37561 w 48174"/>
                <a:gd name="connsiteY7" fmla="*/ 107802 h 144925"/>
                <a:gd name="connsiteX8" fmla="*/ 47438 w 48174"/>
                <a:gd name="connsiteY8" fmla="*/ 144658 h 144925"/>
                <a:gd name="connsiteX9" fmla="*/ 47770 w 48174"/>
                <a:gd name="connsiteY9" fmla="*/ 144916 h 144925"/>
                <a:gd name="connsiteX10" fmla="*/ 48136 w 48174"/>
                <a:gd name="connsiteY10" fmla="*/ 144625 h 144925"/>
                <a:gd name="connsiteX11" fmla="*/ 48138 w 48174"/>
                <a:gd name="connsiteY11" fmla="*/ 144584 h 144925"/>
                <a:gd name="connsiteX12" fmla="*/ 44453 w 48174"/>
                <a:gd name="connsiteY12" fmla="*/ 106254 h 144925"/>
                <a:gd name="connsiteX13" fmla="*/ 33727 w 48174"/>
                <a:gd name="connsiteY13" fmla="*/ 69213 h 14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174" h="144925">
                  <a:moveTo>
                    <a:pt x="33727" y="69213"/>
                  </a:moveTo>
                  <a:cubicBezTo>
                    <a:pt x="29452" y="57124"/>
                    <a:pt x="24513" y="45293"/>
                    <a:pt x="18985" y="33720"/>
                  </a:cubicBezTo>
                  <a:cubicBezTo>
                    <a:pt x="13529" y="22140"/>
                    <a:pt x="7376" y="10903"/>
                    <a:pt x="557" y="70"/>
                  </a:cubicBezTo>
                  <a:cubicBezTo>
                    <a:pt x="414" y="-33"/>
                    <a:pt x="220" y="-33"/>
                    <a:pt x="78" y="70"/>
                  </a:cubicBezTo>
                  <a:cubicBezTo>
                    <a:pt x="-63" y="214"/>
                    <a:pt x="-63" y="443"/>
                    <a:pt x="78" y="586"/>
                  </a:cubicBezTo>
                  <a:cubicBezTo>
                    <a:pt x="5993" y="11809"/>
                    <a:pt x="11224" y="23378"/>
                    <a:pt x="15742" y="35231"/>
                  </a:cubicBezTo>
                  <a:cubicBezTo>
                    <a:pt x="20422" y="47025"/>
                    <a:pt x="24624" y="58967"/>
                    <a:pt x="28162" y="71130"/>
                  </a:cubicBezTo>
                  <a:cubicBezTo>
                    <a:pt x="31700" y="83292"/>
                    <a:pt x="34317" y="95602"/>
                    <a:pt x="37561" y="107802"/>
                  </a:cubicBezTo>
                  <a:cubicBezTo>
                    <a:pt x="40804" y="120001"/>
                    <a:pt x="43716" y="132274"/>
                    <a:pt x="47438" y="144658"/>
                  </a:cubicBezTo>
                  <a:cubicBezTo>
                    <a:pt x="47484" y="144806"/>
                    <a:pt x="47616" y="144909"/>
                    <a:pt x="47770" y="144916"/>
                  </a:cubicBezTo>
                  <a:cubicBezTo>
                    <a:pt x="47952" y="144938"/>
                    <a:pt x="48116" y="144806"/>
                    <a:pt x="48136" y="144625"/>
                  </a:cubicBezTo>
                  <a:cubicBezTo>
                    <a:pt x="48138" y="144610"/>
                    <a:pt x="48138" y="144599"/>
                    <a:pt x="48138" y="144584"/>
                  </a:cubicBezTo>
                  <a:cubicBezTo>
                    <a:pt x="48259" y="131714"/>
                    <a:pt x="47024" y="118866"/>
                    <a:pt x="44453" y="106254"/>
                  </a:cubicBezTo>
                  <a:cubicBezTo>
                    <a:pt x="41881" y="93638"/>
                    <a:pt x="38294" y="81250"/>
                    <a:pt x="33727" y="69213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40">
              <a:extLst>
                <a:ext uri="{FF2B5EF4-FFF2-40B4-BE49-F238E27FC236}">
                  <a16:creationId xmlns:a16="http://schemas.microsoft.com/office/drawing/2014/main" id="{2CFD1C0D-64D8-69CB-C33D-4A3BFA003661}"/>
                </a:ext>
              </a:extLst>
            </p:cNvPr>
            <p:cNvSpPr/>
            <p:nvPr/>
          </p:nvSpPr>
          <p:spPr>
            <a:xfrm>
              <a:off x="981589" y="3185151"/>
              <a:ext cx="48202" cy="75098"/>
            </a:xfrm>
            <a:custGeom>
              <a:avLst/>
              <a:gdLst>
                <a:gd name="connsiteX0" fmla="*/ 45402 w 48202"/>
                <a:gd name="connsiteY0" fmla="*/ 51356 h 75098"/>
                <a:gd name="connsiteX1" fmla="*/ 35267 w 48202"/>
                <a:gd name="connsiteY1" fmla="*/ 30090 h 75098"/>
                <a:gd name="connsiteX2" fmla="*/ 20524 w 48202"/>
                <a:gd name="connsiteY2" fmla="*/ 11662 h 75098"/>
                <a:gd name="connsiteX3" fmla="*/ 11126 w 48202"/>
                <a:gd name="connsiteY3" fmla="*/ 4844 h 75098"/>
                <a:gd name="connsiteX4" fmla="*/ 475 w 48202"/>
                <a:gd name="connsiteY4" fmla="*/ 15 h 75098"/>
                <a:gd name="connsiteX5" fmla="*/ -5 w 48202"/>
                <a:gd name="connsiteY5" fmla="*/ 237 h 75098"/>
                <a:gd name="connsiteX6" fmla="*/ 217 w 48202"/>
                <a:gd name="connsiteY6" fmla="*/ 716 h 75098"/>
                <a:gd name="connsiteX7" fmla="*/ 217 w 48202"/>
                <a:gd name="connsiteY7" fmla="*/ 716 h 75098"/>
                <a:gd name="connsiteX8" fmla="*/ 17871 w 48202"/>
                <a:gd name="connsiteY8" fmla="*/ 14426 h 75098"/>
                <a:gd name="connsiteX9" fmla="*/ 30144 w 48202"/>
                <a:gd name="connsiteY9" fmla="*/ 33076 h 75098"/>
                <a:gd name="connsiteX10" fmla="*/ 38510 w 48202"/>
                <a:gd name="connsiteY10" fmla="*/ 53789 h 75098"/>
                <a:gd name="connsiteX11" fmla="*/ 42712 w 48202"/>
                <a:gd name="connsiteY11" fmla="*/ 64293 h 75098"/>
                <a:gd name="connsiteX12" fmla="*/ 47430 w 48202"/>
                <a:gd name="connsiteY12" fmla="*/ 74871 h 75098"/>
                <a:gd name="connsiteX13" fmla="*/ 47430 w 48202"/>
                <a:gd name="connsiteY13" fmla="*/ 74871 h 75098"/>
                <a:gd name="connsiteX14" fmla="*/ 47761 w 48202"/>
                <a:gd name="connsiteY14" fmla="*/ 75092 h 75098"/>
                <a:gd name="connsiteX15" fmla="*/ 48130 w 48202"/>
                <a:gd name="connsiteY15" fmla="*/ 74723 h 75098"/>
                <a:gd name="connsiteX16" fmla="*/ 47688 w 48202"/>
                <a:gd name="connsiteY16" fmla="*/ 62966 h 75098"/>
                <a:gd name="connsiteX17" fmla="*/ 45402 w 48202"/>
                <a:gd name="connsiteY17" fmla="*/ 51356 h 75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202" h="75098">
                  <a:moveTo>
                    <a:pt x="45402" y="51356"/>
                  </a:moveTo>
                  <a:cubicBezTo>
                    <a:pt x="43023" y="43834"/>
                    <a:pt x="39612" y="36676"/>
                    <a:pt x="35267" y="30090"/>
                  </a:cubicBezTo>
                  <a:cubicBezTo>
                    <a:pt x="31198" y="23316"/>
                    <a:pt x="26240" y="17120"/>
                    <a:pt x="20524" y="11662"/>
                  </a:cubicBezTo>
                  <a:cubicBezTo>
                    <a:pt x="17588" y="9130"/>
                    <a:pt x="14444" y="6849"/>
                    <a:pt x="11126" y="4844"/>
                  </a:cubicBezTo>
                  <a:cubicBezTo>
                    <a:pt x="7837" y="2710"/>
                    <a:pt x="4247" y="1081"/>
                    <a:pt x="475" y="15"/>
                  </a:cubicBezTo>
                  <a:cubicBezTo>
                    <a:pt x="281" y="-55"/>
                    <a:pt x="67" y="45"/>
                    <a:pt x="-5" y="237"/>
                  </a:cubicBezTo>
                  <a:cubicBezTo>
                    <a:pt x="-76" y="428"/>
                    <a:pt x="23" y="646"/>
                    <a:pt x="217" y="716"/>
                  </a:cubicBezTo>
                  <a:lnTo>
                    <a:pt x="217" y="716"/>
                  </a:lnTo>
                  <a:cubicBezTo>
                    <a:pt x="7009" y="3978"/>
                    <a:pt x="13028" y="8655"/>
                    <a:pt x="17871" y="14426"/>
                  </a:cubicBezTo>
                  <a:cubicBezTo>
                    <a:pt x="22776" y="20065"/>
                    <a:pt x="26903" y="26338"/>
                    <a:pt x="30144" y="33076"/>
                  </a:cubicBezTo>
                  <a:cubicBezTo>
                    <a:pt x="33830" y="39673"/>
                    <a:pt x="35451" y="46970"/>
                    <a:pt x="38510" y="53789"/>
                  </a:cubicBezTo>
                  <a:cubicBezTo>
                    <a:pt x="39837" y="57290"/>
                    <a:pt x="41164" y="60829"/>
                    <a:pt x="42712" y="64293"/>
                  </a:cubicBezTo>
                  <a:cubicBezTo>
                    <a:pt x="44062" y="67916"/>
                    <a:pt x="45637" y="71447"/>
                    <a:pt x="47430" y="74871"/>
                  </a:cubicBezTo>
                  <a:lnTo>
                    <a:pt x="47430" y="74871"/>
                  </a:lnTo>
                  <a:cubicBezTo>
                    <a:pt x="47494" y="74996"/>
                    <a:pt x="47620" y="75081"/>
                    <a:pt x="47761" y="75092"/>
                  </a:cubicBezTo>
                  <a:cubicBezTo>
                    <a:pt x="47965" y="75092"/>
                    <a:pt x="48130" y="74926"/>
                    <a:pt x="48130" y="74723"/>
                  </a:cubicBezTo>
                  <a:cubicBezTo>
                    <a:pt x="48259" y="70798"/>
                    <a:pt x="48111" y="66869"/>
                    <a:pt x="47688" y="62966"/>
                  </a:cubicBezTo>
                  <a:cubicBezTo>
                    <a:pt x="47135" y="59023"/>
                    <a:pt x="46324" y="55189"/>
                    <a:pt x="45402" y="51356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41">
              <a:extLst>
                <a:ext uri="{FF2B5EF4-FFF2-40B4-BE49-F238E27FC236}">
                  <a16:creationId xmlns:a16="http://schemas.microsoft.com/office/drawing/2014/main" id="{A5C852CE-9F42-9D5A-8351-A70D9DEB1845}"/>
                </a:ext>
              </a:extLst>
            </p:cNvPr>
            <p:cNvSpPr/>
            <p:nvPr/>
          </p:nvSpPr>
          <p:spPr>
            <a:xfrm>
              <a:off x="958114" y="2779804"/>
              <a:ext cx="78859" cy="244012"/>
            </a:xfrm>
            <a:custGeom>
              <a:avLst/>
              <a:gdLst>
                <a:gd name="connsiteX0" fmla="*/ 70278 w 78859"/>
                <a:gd name="connsiteY0" fmla="*/ 244005 h 244012"/>
                <a:gd name="connsiteX1" fmla="*/ 23839 w 78859"/>
                <a:gd name="connsiteY1" fmla="*/ 194654 h 244012"/>
                <a:gd name="connsiteX2" fmla="*/ 18053 w 78859"/>
                <a:gd name="connsiteY2" fmla="*/ 107563 h 244012"/>
                <a:gd name="connsiteX3" fmla="*/ 7401 w 78859"/>
                <a:gd name="connsiteY3" fmla="*/ 10815 h 244012"/>
                <a:gd name="connsiteX4" fmla="*/ 28667 w 78859"/>
                <a:gd name="connsiteY4" fmla="*/ 22424 h 244012"/>
                <a:gd name="connsiteX5" fmla="*/ 75106 w 78859"/>
                <a:gd name="connsiteY5" fmla="*/ 155108 h 244012"/>
                <a:gd name="connsiteX6" fmla="*/ 70278 w 78859"/>
                <a:gd name="connsiteY6" fmla="*/ 244005 h 244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859" h="244012">
                  <a:moveTo>
                    <a:pt x="70278" y="244005"/>
                  </a:moveTo>
                  <a:cubicBezTo>
                    <a:pt x="46839" y="237448"/>
                    <a:pt x="28959" y="218449"/>
                    <a:pt x="23839" y="194654"/>
                  </a:cubicBezTo>
                  <a:cubicBezTo>
                    <a:pt x="15141" y="154112"/>
                    <a:pt x="43189" y="171435"/>
                    <a:pt x="18053" y="107563"/>
                  </a:cubicBezTo>
                  <a:cubicBezTo>
                    <a:pt x="-7083" y="43691"/>
                    <a:pt x="-1297" y="29206"/>
                    <a:pt x="7401" y="10815"/>
                  </a:cubicBezTo>
                  <a:cubicBezTo>
                    <a:pt x="16099" y="-7577"/>
                    <a:pt x="20928" y="-1753"/>
                    <a:pt x="28667" y="22424"/>
                  </a:cubicBezTo>
                  <a:cubicBezTo>
                    <a:pt x="36407" y="46602"/>
                    <a:pt x="64492" y="84343"/>
                    <a:pt x="75106" y="155108"/>
                  </a:cubicBezTo>
                  <a:cubicBezTo>
                    <a:pt x="85721" y="225872"/>
                    <a:pt x="70278" y="244005"/>
                    <a:pt x="70278" y="244005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42">
              <a:extLst>
                <a:ext uri="{FF2B5EF4-FFF2-40B4-BE49-F238E27FC236}">
                  <a16:creationId xmlns:a16="http://schemas.microsoft.com/office/drawing/2014/main" id="{49C3732C-AF37-102C-4DA4-65B6B39DA6E4}"/>
                </a:ext>
              </a:extLst>
            </p:cNvPr>
            <p:cNvSpPr/>
            <p:nvPr/>
          </p:nvSpPr>
          <p:spPr>
            <a:xfrm>
              <a:off x="1076778" y="2700637"/>
              <a:ext cx="89471" cy="254478"/>
            </a:xfrm>
            <a:custGeom>
              <a:avLst/>
              <a:gdLst>
                <a:gd name="connsiteX0" fmla="*/ 26138 w 89471"/>
                <a:gd name="connsiteY0" fmla="*/ 254472 h 254478"/>
                <a:gd name="connsiteX1" fmla="*/ 7 w 89471"/>
                <a:gd name="connsiteY1" fmla="*/ 198340 h 254478"/>
                <a:gd name="connsiteX2" fmla="*/ 21273 w 89471"/>
                <a:gd name="connsiteY2" fmla="*/ 101591 h 254478"/>
                <a:gd name="connsiteX3" fmla="*/ 38706 w 89471"/>
                <a:gd name="connsiteY3" fmla="*/ 15 h 254478"/>
                <a:gd name="connsiteX4" fmla="*/ 87098 w 89471"/>
                <a:gd name="connsiteY4" fmla="*/ 94994 h 254478"/>
                <a:gd name="connsiteX5" fmla="*/ 55181 w 89471"/>
                <a:gd name="connsiteY5" fmla="*/ 223697 h 254478"/>
                <a:gd name="connsiteX6" fmla="*/ 26138 w 89471"/>
                <a:gd name="connsiteY6" fmla="*/ 254472 h 25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71" h="254478">
                  <a:moveTo>
                    <a:pt x="26138" y="254472"/>
                  </a:moveTo>
                  <a:cubicBezTo>
                    <a:pt x="26138" y="254472"/>
                    <a:pt x="965" y="245774"/>
                    <a:pt x="7" y="198340"/>
                  </a:cubicBezTo>
                  <a:cubicBezTo>
                    <a:pt x="-952" y="150905"/>
                    <a:pt x="18435" y="160635"/>
                    <a:pt x="21273" y="101591"/>
                  </a:cubicBezTo>
                  <a:cubicBezTo>
                    <a:pt x="24111" y="42547"/>
                    <a:pt x="28054" y="973"/>
                    <a:pt x="38706" y="15"/>
                  </a:cubicBezTo>
                  <a:cubicBezTo>
                    <a:pt x="49357" y="-943"/>
                    <a:pt x="77405" y="29021"/>
                    <a:pt x="87098" y="94994"/>
                  </a:cubicBezTo>
                  <a:cubicBezTo>
                    <a:pt x="96791" y="160967"/>
                    <a:pt x="74530" y="204347"/>
                    <a:pt x="55181" y="223697"/>
                  </a:cubicBezTo>
                  <a:cubicBezTo>
                    <a:pt x="35831" y="243046"/>
                    <a:pt x="26138" y="254472"/>
                    <a:pt x="26138" y="254472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43">
              <a:extLst>
                <a:ext uri="{FF2B5EF4-FFF2-40B4-BE49-F238E27FC236}">
                  <a16:creationId xmlns:a16="http://schemas.microsoft.com/office/drawing/2014/main" id="{E1EDC57E-BE00-C06A-88F8-4F4197360E8E}"/>
                </a:ext>
              </a:extLst>
            </p:cNvPr>
            <p:cNvSpPr/>
            <p:nvPr/>
          </p:nvSpPr>
          <p:spPr>
            <a:xfrm>
              <a:off x="910367" y="2936377"/>
              <a:ext cx="104526" cy="144529"/>
            </a:xfrm>
            <a:custGeom>
              <a:avLst/>
              <a:gdLst>
                <a:gd name="connsiteX0" fmla="*/ 104499 w 104526"/>
                <a:gd name="connsiteY0" fmla="*/ 144522 h 144529"/>
                <a:gd name="connsiteX1" fmla="*/ 87066 w 104526"/>
                <a:gd name="connsiteY1" fmla="*/ 93218 h 144529"/>
                <a:gd name="connsiteX2" fmla="*/ 33845 w 104526"/>
                <a:gd name="connsiteY2" fmla="*/ 30341 h 144529"/>
                <a:gd name="connsiteX3" fmla="*/ 11 w 104526"/>
                <a:gd name="connsiteY3" fmla="*/ 28388 h 144529"/>
                <a:gd name="connsiteX4" fmla="*/ 46450 w 104526"/>
                <a:gd name="connsiteY4" fmla="*/ 112568 h 144529"/>
                <a:gd name="connsiteX5" fmla="*/ 104499 w 104526"/>
                <a:gd name="connsiteY5" fmla="*/ 144522 h 144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526" h="144529">
                  <a:moveTo>
                    <a:pt x="104499" y="144522"/>
                  </a:moveTo>
                  <a:cubicBezTo>
                    <a:pt x="104499" y="144522"/>
                    <a:pt x="98712" y="109877"/>
                    <a:pt x="87066" y="93218"/>
                  </a:cubicBezTo>
                  <a:cubicBezTo>
                    <a:pt x="75419" y="76559"/>
                    <a:pt x="50209" y="62259"/>
                    <a:pt x="33845" y="30341"/>
                  </a:cubicBezTo>
                  <a:cubicBezTo>
                    <a:pt x="17481" y="-1577"/>
                    <a:pt x="-984" y="-17056"/>
                    <a:pt x="11" y="28388"/>
                  </a:cubicBezTo>
                  <a:cubicBezTo>
                    <a:pt x="1006" y="73832"/>
                    <a:pt x="21277" y="97088"/>
                    <a:pt x="46450" y="112568"/>
                  </a:cubicBezTo>
                  <a:cubicBezTo>
                    <a:pt x="71623" y="128047"/>
                    <a:pt x="104499" y="144522"/>
                    <a:pt x="104499" y="144522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44">
              <a:extLst>
                <a:ext uri="{FF2B5EF4-FFF2-40B4-BE49-F238E27FC236}">
                  <a16:creationId xmlns:a16="http://schemas.microsoft.com/office/drawing/2014/main" id="{6751237D-DFB7-A441-2628-280FA1DD2E6B}"/>
                </a:ext>
              </a:extLst>
            </p:cNvPr>
            <p:cNvSpPr/>
            <p:nvPr/>
          </p:nvSpPr>
          <p:spPr>
            <a:xfrm>
              <a:off x="893894" y="3024113"/>
              <a:ext cx="110348" cy="124782"/>
            </a:xfrm>
            <a:custGeom>
              <a:avLst/>
              <a:gdLst>
                <a:gd name="connsiteX0" fmla="*/ 110321 w 110348"/>
                <a:gd name="connsiteY0" fmla="*/ 116752 h 124782"/>
                <a:gd name="connsiteX1" fmla="*/ 53230 w 110348"/>
                <a:gd name="connsiteY1" fmla="*/ 39354 h 124782"/>
                <a:gd name="connsiteX2" fmla="*/ 1963 w 110348"/>
                <a:gd name="connsiteY2" fmla="*/ 6441 h 124782"/>
                <a:gd name="connsiteX3" fmla="*/ 39704 w 110348"/>
                <a:gd name="connsiteY3" fmla="*/ 50964 h 124782"/>
                <a:gd name="connsiteX4" fmla="*/ 74533 w 110348"/>
                <a:gd name="connsiteY4" fmla="*/ 117710 h 124782"/>
                <a:gd name="connsiteX5" fmla="*/ 110321 w 110348"/>
                <a:gd name="connsiteY5" fmla="*/ 116752 h 12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348" h="124782">
                  <a:moveTo>
                    <a:pt x="110321" y="116752"/>
                  </a:moveTo>
                  <a:cubicBezTo>
                    <a:pt x="110321" y="116752"/>
                    <a:pt x="87101" y="72267"/>
                    <a:pt x="53230" y="39354"/>
                  </a:cubicBezTo>
                  <a:cubicBezTo>
                    <a:pt x="19359" y="6441"/>
                    <a:pt x="-7730" y="-9997"/>
                    <a:pt x="1963" y="6441"/>
                  </a:cubicBezTo>
                  <a:cubicBezTo>
                    <a:pt x="11656" y="22879"/>
                    <a:pt x="23229" y="21958"/>
                    <a:pt x="39704" y="50964"/>
                  </a:cubicBezTo>
                  <a:cubicBezTo>
                    <a:pt x="56179" y="79970"/>
                    <a:pt x="51314" y="101273"/>
                    <a:pt x="74533" y="117710"/>
                  </a:cubicBezTo>
                  <a:cubicBezTo>
                    <a:pt x="97753" y="134149"/>
                    <a:pt x="110321" y="116752"/>
                    <a:pt x="110321" y="116752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45">
              <a:extLst>
                <a:ext uri="{FF2B5EF4-FFF2-40B4-BE49-F238E27FC236}">
                  <a16:creationId xmlns:a16="http://schemas.microsoft.com/office/drawing/2014/main" id="{EC73B755-4822-D0BB-8E4F-142EDDF77F1F}"/>
                </a:ext>
              </a:extLst>
            </p:cNvPr>
            <p:cNvSpPr/>
            <p:nvPr/>
          </p:nvSpPr>
          <p:spPr>
            <a:xfrm>
              <a:off x="906207" y="3145498"/>
              <a:ext cx="95123" cy="52464"/>
            </a:xfrm>
            <a:custGeom>
              <a:avLst/>
              <a:gdLst>
                <a:gd name="connsiteX0" fmla="*/ 95096 w 95123"/>
                <a:gd name="connsiteY0" fmla="*/ 52458 h 52464"/>
                <a:gd name="connsiteX1" fmla="*/ 60266 w 95123"/>
                <a:gd name="connsiteY1" fmla="*/ 10847 h 52464"/>
                <a:gd name="connsiteX2" fmla="*/ 301 w 95123"/>
                <a:gd name="connsiteY2" fmla="*/ 8930 h 52464"/>
                <a:gd name="connsiteX3" fmla="*/ 44787 w 95123"/>
                <a:gd name="connsiteY3" fmla="*/ 40848 h 52464"/>
                <a:gd name="connsiteX4" fmla="*/ 95096 w 95123"/>
                <a:gd name="connsiteY4" fmla="*/ 52458 h 5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123" h="52464">
                  <a:moveTo>
                    <a:pt x="95096" y="52458"/>
                  </a:moveTo>
                  <a:cubicBezTo>
                    <a:pt x="94137" y="49546"/>
                    <a:pt x="93179" y="28280"/>
                    <a:pt x="60266" y="10847"/>
                  </a:cubicBezTo>
                  <a:cubicBezTo>
                    <a:pt x="27354" y="-6586"/>
                    <a:pt x="-3569" y="195"/>
                    <a:pt x="301" y="8930"/>
                  </a:cubicBezTo>
                  <a:cubicBezTo>
                    <a:pt x="4171" y="17665"/>
                    <a:pt x="24479" y="32150"/>
                    <a:pt x="44787" y="40848"/>
                  </a:cubicBezTo>
                  <a:cubicBezTo>
                    <a:pt x="65095" y="49546"/>
                    <a:pt x="95096" y="52458"/>
                    <a:pt x="95096" y="52458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46">
              <a:extLst>
                <a:ext uri="{FF2B5EF4-FFF2-40B4-BE49-F238E27FC236}">
                  <a16:creationId xmlns:a16="http://schemas.microsoft.com/office/drawing/2014/main" id="{B397FB26-2057-9D91-71A2-1BE6E3B06E44}"/>
                </a:ext>
              </a:extLst>
            </p:cNvPr>
            <p:cNvSpPr/>
            <p:nvPr/>
          </p:nvSpPr>
          <p:spPr>
            <a:xfrm>
              <a:off x="1091937" y="2904794"/>
              <a:ext cx="128592" cy="178028"/>
            </a:xfrm>
            <a:custGeom>
              <a:avLst/>
              <a:gdLst>
                <a:gd name="connsiteX0" fmla="*/ 9025 w 128592"/>
                <a:gd name="connsiteY0" fmla="*/ 178022 h 178028"/>
                <a:gd name="connsiteX1" fmla="*/ 2244 w 128592"/>
                <a:gd name="connsiteY1" fmla="*/ 120931 h 178028"/>
                <a:gd name="connsiteX2" fmla="*/ 46766 w 128592"/>
                <a:gd name="connsiteY2" fmla="*/ 71580 h 178028"/>
                <a:gd name="connsiteX3" fmla="*/ 81596 w 128592"/>
                <a:gd name="connsiteY3" fmla="*/ 27095 h 178028"/>
                <a:gd name="connsiteX4" fmla="*/ 126081 w 128592"/>
                <a:gd name="connsiteY4" fmla="*/ 2917 h 178028"/>
                <a:gd name="connsiteX5" fmla="*/ 110602 w 128592"/>
                <a:gd name="connsiteY5" fmla="*/ 54184 h 178028"/>
                <a:gd name="connsiteX6" fmla="*/ 71902 w 128592"/>
                <a:gd name="connsiteY6" fmla="*/ 96753 h 178028"/>
                <a:gd name="connsiteX7" fmla="*/ 44813 w 128592"/>
                <a:gd name="connsiteY7" fmla="*/ 161583 h 178028"/>
                <a:gd name="connsiteX8" fmla="*/ 9025 w 128592"/>
                <a:gd name="connsiteY8" fmla="*/ 178022 h 178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592" h="178028">
                  <a:moveTo>
                    <a:pt x="9025" y="178022"/>
                  </a:moveTo>
                  <a:cubicBezTo>
                    <a:pt x="9025" y="178022"/>
                    <a:pt x="-5496" y="159593"/>
                    <a:pt x="2244" y="120931"/>
                  </a:cubicBezTo>
                  <a:cubicBezTo>
                    <a:pt x="9984" y="82269"/>
                    <a:pt x="27417" y="91925"/>
                    <a:pt x="46766" y="71580"/>
                  </a:cubicBezTo>
                  <a:cubicBezTo>
                    <a:pt x="66116" y="51235"/>
                    <a:pt x="62246" y="48361"/>
                    <a:pt x="81596" y="27095"/>
                  </a:cubicBezTo>
                  <a:cubicBezTo>
                    <a:pt x="100945" y="5828"/>
                    <a:pt x="118452" y="-5818"/>
                    <a:pt x="126081" y="2917"/>
                  </a:cubicBezTo>
                  <a:cubicBezTo>
                    <a:pt x="133711" y="11652"/>
                    <a:pt x="122396" y="38704"/>
                    <a:pt x="110602" y="54184"/>
                  </a:cubicBezTo>
                  <a:cubicBezTo>
                    <a:pt x="98808" y="69664"/>
                    <a:pt x="80637" y="77403"/>
                    <a:pt x="71902" y="96753"/>
                  </a:cubicBezTo>
                  <a:cubicBezTo>
                    <a:pt x="63167" y="116103"/>
                    <a:pt x="67074" y="147062"/>
                    <a:pt x="44813" y="161583"/>
                  </a:cubicBezTo>
                  <a:cubicBezTo>
                    <a:pt x="22552" y="176105"/>
                    <a:pt x="9025" y="178022"/>
                    <a:pt x="9025" y="178022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47">
              <a:extLst>
                <a:ext uri="{FF2B5EF4-FFF2-40B4-BE49-F238E27FC236}">
                  <a16:creationId xmlns:a16="http://schemas.microsoft.com/office/drawing/2014/main" id="{3120F095-050D-38F4-41F2-0A67D4DB6D43}"/>
                </a:ext>
              </a:extLst>
            </p:cNvPr>
            <p:cNvSpPr/>
            <p:nvPr/>
          </p:nvSpPr>
          <p:spPr>
            <a:xfrm>
              <a:off x="1149383" y="2985584"/>
              <a:ext cx="98004" cy="107890"/>
            </a:xfrm>
            <a:custGeom>
              <a:avLst/>
              <a:gdLst>
                <a:gd name="connsiteX0" fmla="*/ -28 w 98004"/>
                <a:gd name="connsiteY0" fmla="*/ 107883 h 107890"/>
                <a:gd name="connsiteX1" fmla="*/ 59938 w 98004"/>
                <a:gd name="connsiteY1" fmla="*/ 39183 h 107890"/>
                <a:gd name="connsiteX2" fmla="*/ 95725 w 98004"/>
                <a:gd name="connsiteY2" fmla="*/ 7266 h 107890"/>
                <a:gd name="connsiteX3" fmla="*/ 84115 w 98004"/>
                <a:gd name="connsiteY3" fmla="*/ 67231 h 107890"/>
                <a:gd name="connsiteX4" fmla="*/ -28 w 98004"/>
                <a:gd name="connsiteY4" fmla="*/ 107883 h 107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004" h="107890">
                  <a:moveTo>
                    <a:pt x="-28" y="107883"/>
                  </a:moveTo>
                  <a:cubicBezTo>
                    <a:pt x="-28" y="107883"/>
                    <a:pt x="34802" y="68226"/>
                    <a:pt x="59938" y="39183"/>
                  </a:cubicBezTo>
                  <a:cubicBezTo>
                    <a:pt x="85074" y="10140"/>
                    <a:pt x="94767" y="-12084"/>
                    <a:pt x="95725" y="7266"/>
                  </a:cubicBezTo>
                  <a:cubicBezTo>
                    <a:pt x="96683" y="26615"/>
                    <a:pt x="104460" y="42095"/>
                    <a:pt x="84115" y="67231"/>
                  </a:cubicBezTo>
                  <a:cubicBezTo>
                    <a:pt x="63771" y="92367"/>
                    <a:pt x="-28" y="107883"/>
                    <a:pt x="-28" y="107883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48">
              <a:extLst>
                <a:ext uri="{FF2B5EF4-FFF2-40B4-BE49-F238E27FC236}">
                  <a16:creationId xmlns:a16="http://schemas.microsoft.com/office/drawing/2014/main" id="{36E6A816-1BC6-281C-A71F-44A4205CF6AC}"/>
                </a:ext>
              </a:extLst>
            </p:cNvPr>
            <p:cNvSpPr/>
            <p:nvPr/>
          </p:nvSpPr>
          <p:spPr>
            <a:xfrm>
              <a:off x="1130990" y="3070851"/>
              <a:ext cx="127613" cy="86507"/>
            </a:xfrm>
            <a:custGeom>
              <a:avLst/>
              <a:gdLst>
                <a:gd name="connsiteX0" fmla="*/ -27 w 127613"/>
                <a:gd name="connsiteY0" fmla="*/ 86452 h 86507"/>
                <a:gd name="connsiteX1" fmla="*/ 54152 w 127613"/>
                <a:gd name="connsiteY1" fmla="*/ 35185 h 86507"/>
                <a:gd name="connsiteX2" fmla="*/ 126722 w 127613"/>
                <a:gd name="connsiteY2" fmla="*/ 7137 h 86507"/>
                <a:gd name="connsiteX3" fmla="*/ 70590 w 127613"/>
                <a:gd name="connsiteY3" fmla="*/ 62422 h 86507"/>
                <a:gd name="connsiteX4" fmla="*/ -27 w 127613"/>
                <a:gd name="connsiteY4" fmla="*/ 86452 h 86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613" h="86507">
                  <a:moveTo>
                    <a:pt x="-27" y="86452"/>
                  </a:moveTo>
                  <a:cubicBezTo>
                    <a:pt x="-27" y="86452"/>
                    <a:pt x="-985" y="70972"/>
                    <a:pt x="54152" y="35185"/>
                  </a:cubicBezTo>
                  <a:cubicBezTo>
                    <a:pt x="109289" y="-603"/>
                    <a:pt x="132509" y="-7384"/>
                    <a:pt x="126722" y="7137"/>
                  </a:cubicBezTo>
                  <a:cubicBezTo>
                    <a:pt x="120936" y="21659"/>
                    <a:pt x="96721" y="36143"/>
                    <a:pt x="70590" y="62422"/>
                  </a:cubicBezTo>
                  <a:cubicBezTo>
                    <a:pt x="44459" y="88700"/>
                    <a:pt x="-27" y="86452"/>
                    <a:pt x="-27" y="86452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49">
              <a:extLst>
                <a:ext uri="{FF2B5EF4-FFF2-40B4-BE49-F238E27FC236}">
                  <a16:creationId xmlns:a16="http://schemas.microsoft.com/office/drawing/2014/main" id="{C4D1A7C6-E828-A2B1-B9B0-929DDC0DF7F1}"/>
                </a:ext>
              </a:extLst>
            </p:cNvPr>
            <p:cNvSpPr/>
            <p:nvPr/>
          </p:nvSpPr>
          <p:spPr>
            <a:xfrm>
              <a:off x="982128" y="2821585"/>
              <a:ext cx="48613" cy="198103"/>
            </a:xfrm>
            <a:custGeom>
              <a:avLst/>
              <a:gdLst>
                <a:gd name="connsiteX0" fmla="*/ 48586 w 48613"/>
                <a:gd name="connsiteY0" fmla="*/ 198096 h 198103"/>
                <a:gd name="connsiteX1" fmla="*/ 22086 w 48613"/>
                <a:gd name="connsiteY1" fmla="*/ 79345 h 198103"/>
                <a:gd name="connsiteX2" fmla="*/ -28 w 48613"/>
                <a:gd name="connsiteY2" fmla="*/ -7 h 198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613" h="198103">
                  <a:moveTo>
                    <a:pt x="48586" y="198096"/>
                  </a:moveTo>
                  <a:cubicBezTo>
                    <a:pt x="48586" y="198096"/>
                    <a:pt x="35612" y="128843"/>
                    <a:pt x="22086" y="79345"/>
                  </a:cubicBezTo>
                  <a:cubicBezTo>
                    <a:pt x="8560" y="29847"/>
                    <a:pt x="-28" y="-7"/>
                    <a:pt x="-28" y="-7"/>
                  </a:cubicBezTo>
                </a:path>
              </a:pathLst>
            </a:custGeom>
            <a:noFill/>
            <a:ln w="1839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50">
              <a:extLst>
                <a:ext uri="{FF2B5EF4-FFF2-40B4-BE49-F238E27FC236}">
                  <a16:creationId xmlns:a16="http://schemas.microsoft.com/office/drawing/2014/main" id="{27B3473A-EBB6-DCFE-3CBA-DEF3B4930752}"/>
                </a:ext>
              </a:extLst>
            </p:cNvPr>
            <p:cNvSpPr/>
            <p:nvPr/>
          </p:nvSpPr>
          <p:spPr>
            <a:xfrm>
              <a:off x="1100695" y="2735636"/>
              <a:ext cx="34359" cy="220217"/>
            </a:xfrm>
            <a:custGeom>
              <a:avLst/>
              <a:gdLst>
                <a:gd name="connsiteX0" fmla="*/ -28 w 34359"/>
                <a:gd name="connsiteY0" fmla="*/ 220210 h 220217"/>
                <a:gd name="connsiteX1" fmla="*/ 31227 w 34359"/>
                <a:gd name="connsiteY1" fmla="*/ 99505 h 220217"/>
                <a:gd name="connsiteX2" fmla="*/ 26398 w 34359"/>
                <a:gd name="connsiteY2" fmla="*/ -7 h 22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359" h="220217">
                  <a:moveTo>
                    <a:pt x="-28" y="220210"/>
                  </a:moveTo>
                  <a:cubicBezTo>
                    <a:pt x="-28" y="220210"/>
                    <a:pt x="23487" y="144986"/>
                    <a:pt x="31227" y="99505"/>
                  </a:cubicBezTo>
                  <a:cubicBezTo>
                    <a:pt x="38966" y="54025"/>
                    <a:pt x="30268" y="20153"/>
                    <a:pt x="26398" y="-7"/>
                  </a:cubicBezTo>
                </a:path>
              </a:pathLst>
            </a:custGeom>
            <a:noFill/>
            <a:ln w="1839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51">
              <a:extLst>
                <a:ext uri="{FF2B5EF4-FFF2-40B4-BE49-F238E27FC236}">
                  <a16:creationId xmlns:a16="http://schemas.microsoft.com/office/drawing/2014/main" id="{919B5F4A-D261-E3C1-2A58-C0D9886F3D71}"/>
                </a:ext>
              </a:extLst>
            </p:cNvPr>
            <p:cNvSpPr/>
            <p:nvPr/>
          </p:nvSpPr>
          <p:spPr>
            <a:xfrm>
              <a:off x="928760" y="2965767"/>
              <a:ext cx="83074" cy="113665"/>
            </a:xfrm>
            <a:custGeom>
              <a:avLst/>
              <a:gdLst>
                <a:gd name="connsiteX0" fmla="*/ 83047 w 83074"/>
                <a:gd name="connsiteY0" fmla="*/ 113658 h 113665"/>
                <a:gd name="connsiteX1" fmla="*/ 47406 w 83074"/>
                <a:gd name="connsiteY1" fmla="*/ 62870 h 113665"/>
                <a:gd name="connsiteX2" fmla="*/ -28 w 83074"/>
                <a:gd name="connsiteY2" fmla="*/ -7 h 113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074" h="113665">
                  <a:moveTo>
                    <a:pt x="83047" y="113658"/>
                  </a:moveTo>
                  <a:cubicBezTo>
                    <a:pt x="72619" y="95753"/>
                    <a:pt x="60697" y="78766"/>
                    <a:pt x="47406" y="62870"/>
                  </a:cubicBezTo>
                  <a:cubicBezTo>
                    <a:pt x="26103" y="37697"/>
                    <a:pt x="9666" y="24171"/>
                    <a:pt x="-28" y="-7"/>
                  </a:cubicBezTo>
                </a:path>
              </a:pathLst>
            </a:custGeom>
            <a:noFill/>
            <a:ln w="1839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52">
              <a:extLst>
                <a:ext uri="{FF2B5EF4-FFF2-40B4-BE49-F238E27FC236}">
                  <a16:creationId xmlns:a16="http://schemas.microsoft.com/office/drawing/2014/main" id="{6923C07F-9BD7-BC08-7FD5-AE5AED7A9FBE}"/>
                </a:ext>
              </a:extLst>
            </p:cNvPr>
            <p:cNvSpPr/>
            <p:nvPr/>
          </p:nvSpPr>
          <p:spPr>
            <a:xfrm>
              <a:off x="1100990" y="2926073"/>
              <a:ext cx="95789" cy="156750"/>
            </a:xfrm>
            <a:custGeom>
              <a:avLst/>
              <a:gdLst>
                <a:gd name="connsiteX0" fmla="*/ -28 w 95789"/>
                <a:gd name="connsiteY0" fmla="*/ 156743 h 156750"/>
                <a:gd name="connsiteX1" fmla="*/ 26103 w 95789"/>
                <a:gd name="connsiteY1" fmla="*/ 86126 h 156750"/>
                <a:gd name="connsiteX2" fmla="*/ 95762 w 95789"/>
                <a:gd name="connsiteY2" fmla="*/ -7 h 15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789" h="156750">
                  <a:moveTo>
                    <a:pt x="-28" y="156743"/>
                  </a:moveTo>
                  <a:cubicBezTo>
                    <a:pt x="-28" y="156743"/>
                    <a:pt x="7712" y="110304"/>
                    <a:pt x="26103" y="86126"/>
                  </a:cubicBezTo>
                  <a:cubicBezTo>
                    <a:pt x="44495" y="61949"/>
                    <a:pt x="81388" y="24208"/>
                    <a:pt x="95762" y="-7"/>
                  </a:cubicBezTo>
                </a:path>
              </a:pathLst>
            </a:custGeom>
            <a:noFill/>
            <a:ln w="1839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53">
              <a:extLst>
                <a:ext uri="{FF2B5EF4-FFF2-40B4-BE49-F238E27FC236}">
                  <a16:creationId xmlns:a16="http://schemas.microsoft.com/office/drawing/2014/main" id="{577896A8-729E-83C3-1BFB-390D5F3517AE}"/>
                </a:ext>
              </a:extLst>
            </p:cNvPr>
            <p:cNvSpPr/>
            <p:nvPr/>
          </p:nvSpPr>
          <p:spPr>
            <a:xfrm>
              <a:off x="943282" y="3164091"/>
              <a:ext cx="55763" cy="32802"/>
            </a:xfrm>
            <a:custGeom>
              <a:avLst/>
              <a:gdLst>
                <a:gd name="connsiteX0" fmla="*/ 55736 w 55763"/>
                <a:gd name="connsiteY0" fmla="*/ 32795 h 32802"/>
                <a:gd name="connsiteX1" fmla="*/ -28 w 55763"/>
                <a:gd name="connsiteY1" fmla="*/ -7 h 32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763" h="32802">
                  <a:moveTo>
                    <a:pt x="55736" y="32795"/>
                  </a:moveTo>
                  <a:cubicBezTo>
                    <a:pt x="55736" y="32795"/>
                    <a:pt x="23192" y="11603"/>
                    <a:pt x="-28" y="-7"/>
                  </a:cubicBezTo>
                </a:path>
              </a:pathLst>
            </a:custGeom>
            <a:noFill/>
            <a:ln w="1839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54">
              <a:extLst>
                <a:ext uri="{FF2B5EF4-FFF2-40B4-BE49-F238E27FC236}">
                  <a16:creationId xmlns:a16="http://schemas.microsoft.com/office/drawing/2014/main" id="{0EE1BEBC-B9B5-5CC9-64B1-95EFA6DD34EE}"/>
                </a:ext>
              </a:extLst>
            </p:cNvPr>
            <p:cNvSpPr/>
            <p:nvPr/>
          </p:nvSpPr>
          <p:spPr>
            <a:xfrm>
              <a:off x="1004832" y="3235814"/>
              <a:ext cx="130176" cy="216310"/>
            </a:xfrm>
            <a:custGeom>
              <a:avLst/>
              <a:gdLst>
                <a:gd name="connsiteX0" fmla="*/ 110643 w 130176"/>
                <a:gd name="connsiteY0" fmla="*/ 216310 h 216310"/>
                <a:gd name="connsiteX1" fmla="*/ 19534 w 130176"/>
                <a:gd name="connsiteY1" fmla="*/ 216310 h 216310"/>
                <a:gd name="connsiteX2" fmla="*/ 0 w 130176"/>
                <a:gd name="connsiteY2" fmla="*/ 0 h 216310"/>
                <a:gd name="connsiteX3" fmla="*/ 130177 w 130176"/>
                <a:gd name="connsiteY3" fmla="*/ 0 h 216310"/>
                <a:gd name="connsiteX4" fmla="*/ 110643 w 130176"/>
                <a:gd name="connsiteY4" fmla="*/ 216310 h 216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176" h="216310">
                  <a:moveTo>
                    <a:pt x="110643" y="216310"/>
                  </a:moveTo>
                  <a:lnTo>
                    <a:pt x="19534" y="216310"/>
                  </a:lnTo>
                  <a:lnTo>
                    <a:pt x="0" y="0"/>
                  </a:lnTo>
                  <a:lnTo>
                    <a:pt x="130177" y="0"/>
                  </a:lnTo>
                  <a:lnTo>
                    <a:pt x="110643" y="216310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55">
              <a:extLst>
                <a:ext uri="{FF2B5EF4-FFF2-40B4-BE49-F238E27FC236}">
                  <a16:creationId xmlns:a16="http://schemas.microsoft.com/office/drawing/2014/main" id="{0483180A-0755-430C-F97A-FCA29D255446}"/>
                </a:ext>
              </a:extLst>
            </p:cNvPr>
            <p:cNvSpPr/>
            <p:nvPr/>
          </p:nvSpPr>
          <p:spPr>
            <a:xfrm>
              <a:off x="1688444" y="2138267"/>
              <a:ext cx="911679" cy="625453"/>
            </a:xfrm>
            <a:custGeom>
              <a:avLst/>
              <a:gdLst>
                <a:gd name="connsiteX0" fmla="*/ 0 w 911679"/>
                <a:gd name="connsiteY0" fmla="*/ 0 h 625453"/>
                <a:gd name="connsiteX1" fmla="*/ 911679 w 911679"/>
                <a:gd name="connsiteY1" fmla="*/ 0 h 625453"/>
                <a:gd name="connsiteX2" fmla="*/ 911679 w 911679"/>
                <a:gd name="connsiteY2" fmla="*/ 625453 h 625453"/>
                <a:gd name="connsiteX3" fmla="*/ 0 w 911679"/>
                <a:gd name="connsiteY3" fmla="*/ 625453 h 62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679" h="625453">
                  <a:moveTo>
                    <a:pt x="0" y="0"/>
                  </a:moveTo>
                  <a:lnTo>
                    <a:pt x="911679" y="0"/>
                  </a:lnTo>
                  <a:lnTo>
                    <a:pt x="911679" y="625453"/>
                  </a:lnTo>
                  <a:lnTo>
                    <a:pt x="0" y="625453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56">
              <a:extLst>
                <a:ext uri="{FF2B5EF4-FFF2-40B4-BE49-F238E27FC236}">
                  <a16:creationId xmlns:a16="http://schemas.microsoft.com/office/drawing/2014/main" id="{AA1C4F33-CFEC-A5A2-D8B2-010A8CD95F34}"/>
                </a:ext>
              </a:extLst>
            </p:cNvPr>
            <p:cNvSpPr/>
            <p:nvPr/>
          </p:nvSpPr>
          <p:spPr>
            <a:xfrm>
              <a:off x="1702928" y="2153341"/>
              <a:ext cx="882746" cy="595267"/>
            </a:xfrm>
            <a:custGeom>
              <a:avLst/>
              <a:gdLst>
                <a:gd name="connsiteX0" fmla="*/ 0 w 882746"/>
                <a:gd name="connsiteY0" fmla="*/ 0 h 595267"/>
                <a:gd name="connsiteX1" fmla="*/ 882747 w 882746"/>
                <a:gd name="connsiteY1" fmla="*/ 0 h 595267"/>
                <a:gd name="connsiteX2" fmla="*/ 882747 w 882746"/>
                <a:gd name="connsiteY2" fmla="*/ 595268 h 595267"/>
                <a:gd name="connsiteX3" fmla="*/ 0 w 882746"/>
                <a:gd name="connsiteY3" fmla="*/ 595268 h 595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2746" h="595267">
                  <a:moveTo>
                    <a:pt x="0" y="0"/>
                  </a:moveTo>
                  <a:lnTo>
                    <a:pt x="882747" y="0"/>
                  </a:lnTo>
                  <a:lnTo>
                    <a:pt x="882747" y="595268"/>
                  </a:lnTo>
                  <a:lnTo>
                    <a:pt x="0" y="595268"/>
                  </a:ln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57">
              <a:extLst>
                <a:ext uri="{FF2B5EF4-FFF2-40B4-BE49-F238E27FC236}">
                  <a16:creationId xmlns:a16="http://schemas.microsoft.com/office/drawing/2014/main" id="{85D4966E-E977-4BF9-72BF-460D8F31EAFB}"/>
                </a:ext>
              </a:extLst>
            </p:cNvPr>
            <p:cNvSpPr/>
            <p:nvPr/>
          </p:nvSpPr>
          <p:spPr>
            <a:xfrm>
              <a:off x="2019045" y="2304121"/>
              <a:ext cx="129734" cy="104008"/>
            </a:xfrm>
            <a:custGeom>
              <a:avLst/>
              <a:gdLst>
                <a:gd name="connsiteX0" fmla="*/ 0 w 129734"/>
                <a:gd name="connsiteY0" fmla="*/ 0 h 104008"/>
                <a:gd name="connsiteX1" fmla="*/ 129734 w 129734"/>
                <a:gd name="connsiteY1" fmla="*/ 0 h 104008"/>
                <a:gd name="connsiteX2" fmla="*/ 129734 w 129734"/>
                <a:gd name="connsiteY2" fmla="*/ 104009 h 104008"/>
                <a:gd name="connsiteX3" fmla="*/ 0 w 129734"/>
                <a:gd name="connsiteY3" fmla="*/ 104009 h 10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4" h="104008">
                  <a:moveTo>
                    <a:pt x="0" y="0"/>
                  </a:moveTo>
                  <a:lnTo>
                    <a:pt x="129734" y="0"/>
                  </a:lnTo>
                  <a:lnTo>
                    <a:pt x="129734" y="104009"/>
                  </a:lnTo>
                  <a:lnTo>
                    <a:pt x="0" y="104009"/>
                  </a:lnTo>
                  <a:close/>
                </a:path>
              </a:pathLst>
            </a:custGeom>
            <a:solidFill>
              <a:srgbClr val="002060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58">
              <a:extLst>
                <a:ext uri="{FF2B5EF4-FFF2-40B4-BE49-F238E27FC236}">
                  <a16:creationId xmlns:a16="http://schemas.microsoft.com/office/drawing/2014/main" id="{71DAC0FE-4A70-2544-F28F-E6ADCAEC893C}"/>
                </a:ext>
              </a:extLst>
            </p:cNvPr>
            <p:cNvSpPr/>
            <p:nvPr/>
          </p:nvSpPr>
          <p:spPr>
            <a:xfrm>
              <a:off x="2153276" y="2409825"/>
              <a:ext cx="129734" cy="104008"/>
            </a:xfrm>
            <a:custGeom>
              <a:avLst/>
              <a:gdLst>
                <a:gd name="connsiteX0" fmla="*/ 0 w 129734"/>
                <a:gd name="connsiteY0" fmla="*/ 0 h 104008"/>
                <a:gd name="connsiteX1" fmla="*/ 129734 w 129734"/>
                <a:gd name="connsiteY1" fmla="*/ 0 h 104008"/>
                <a:gd name="connsiteX2" fmla="*/ 129734 w 129734"/>
                <a:gd name="connsiteY2" fmla="*/ 104009 h 104008"/>
                <a:gd name="connsiteX3" fmla="*/ 0 w 129734"/>
                <a:gd name="connsiteY3" fmla="*/ 104009 h 10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4" h="104008">
                  <a:moveTo>
                    <a:pt x="0" y="0"/>
                  </a:moveTo>
                  <a:lnTo>
                    <a:pt x="129734" y="0"/>
                  </a:lnTo>
                  <a:lnTo>
                    <a:pt x="129734" y="104009"/>
                  </a:lnTo>
                  <a:lnTo>
                    <a:pt x="0" y="104009"/>
                  </a:lnTo>
                  <a:close/>
                </a:path>
              </a:pathLst>
            </a:custGeom>
            <a:solidFill>
              <a:srgbClr val="FFFF00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59">
              <a:extLst>
                <a:ext uri="{FF2B5EF4-FFF2-40B4-BE49-F238E27FC236}">
                  <a16:creationId xmlns:a16="http://schemas.microsoft.com/office/drawing/2014/main" id="{67F19512-3ABC-FF4B-9A67-DD8DE1907CE2}"/>
                </a:ext>
              </a:extLst>
            </p:cNvPr>
            <p:cNvSpPr/>
            <p:nvPr/>
          </p:nvSpPr>
          <p:spPr>
            <a:xfrm>
              <a:off x="2019045" y="2617843"/>
              <a:ext cx="129734" cy="104008"/>
            </a:xfrm>
            <a:custGeom>
              <a:avLst/>
              <a:gdLst>
                <a:gd name="connsiteX0" fmla="*/ 0 w 129734"/>
                <a:gd name="connsiteY0" fmla="*/ 0 h 104008"/>
                <a:gd name="connsiteX1" fmla="*/ 129734 w 129734"/>
                <a:gd name="connsiteY1" fmla="*/ 0 h 104008"/>
                <a:gd name="connsiteX2" fmla="*/ 129734 w 129734"/>
                <a:gd name="connsiteY2" fmla="*/ 104009 h 104008"/>
                <a:gd name="connsiteX3" fmla="*/ 0 w 129734"/>
                <a:gd name="connsiteY3" fmla="*/ 104009 h 10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4" h="104008">
                  <a:moveTo>
                    <a:pt x="0" y="0"/>
                  </a:moveTo>
                  <a:lnTo>
                    <a:pt x="129734" y="0"/>
                  </a:lnTo>
                  <a:lnTo>
                    <a:pt x="129734" y="104009"/>
                  </a:lnTo>
                  <a:lnTo>
                    <a:pt x="0" y="104009"/>
                  </a:lnTo>
                  <a:close/>
                </a:path>
              </a:pathLst>
            </a:custGeom>
            <a:solidFill>
              <a:srgbClr val="27C18F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60">
              <a:extLst>
                <a:ext uri="{FF2B5EF4-FFF2-40B4-BE49-F238E27FC236}">
                  <a16:creationId xmlns:a16="http://schemas.microsoft.com/office/drawing/2014/main" id="{71B3F7E2-7E97-9306-AA94-789E658CD898}"/>
                </a:ext>
              </a:extLst>
            </p:cNvPr>
            <p:cNvSpPr/>
            <p:nvPr/>
          </p:nvSpPr>
          <p:spPr>
            <a:xfrm>
              <a:off x="2289166" y="2201771"/>
              <a:ext cx="129734" cy="104008"/>
            </a:xfrm>
            <a:custGeom>
              <a:avLst/>
              <a:gdLst>
                <a:gd name="connsiteX0" fmla="*/ 0 w 129734"/>
                <a:gd name="connsiteY0" fmla="*/ 0 h 104008"/>
                <a:gd name="connsiteX1" fmla="*/ 129734 w 129734"/>
                <a:gd name="connsiteY1" fmla="*/ 0 h 104008"/>
                <a:gd name="connsiteX2" fmla="*/ 129734 w 129734"/>
                <a:gd name="connsiteY2" fmla="*/ 104009 h 104008"/>
                <a:gd name="connsiteX3" fmla="*/ 0 w 129734"/>
                <a:gd name="connsiteY3" fmla="*/ 104009 h 10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4" h="104008">
                  <a:moveTo>
                    <a:pt x="0" y="0"/>
                  </a:moveTo>
                  <a:lnTo>
                    <a:pt x="129734" y="0"/>
                  </a:lnTo>
                  <a:lnTo>
                    <a:pt x="129734" y="104009"/>
                  </a:lnTo>
                  <a:lnTo>
                    <a:pt x="0" y="104009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61">
              <a:extLst>
                <a:ext uri="{FF2B5EF4-FFF2-40B4-BE49-F238E27FC236}">
                  <a16:creationId xmlns:a16="http://schemas.microsoft.com/office/drawing/2014/main" id="{EDFD3873-F8DE-0D56-DAB3-E82DAD1F0A1B}"/>
                </a:ext>
              </a:extLst>
            </p:cNvPr>
            <p:cNvSpPr/>
            <p:nvPr/>
          </p:nvSpPr>
          <p:spPr>
            <a:xfrm>
              <a:off x="1749478" y="2216882"/>
              <a:ext cx="3685" cy="505006"/>
            </a:xfrm>
            <a:custGeom>
              <a:avLst/>
              <a:gdLst>
                <a:gd name="connsiteX0" fmla="*/ 0 w 3685"/>
                <a:gd name="connsiteY0" fmla="*/ 0 h 505006"/>
                <a:gd name="connsiteX1" fmla="*/ 0 w 3685"/>
                <a:gd name="connsiteY1" fmla="*/ 505006 h 50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85" h="505006">
                  <a:moveTo>
                    <a:pt x="0" y="0"/>
                  </a:moveTo>
                  <a:lnTo>
                    <a:pt x="0" y="505006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62">
              <a:extLst>
                <a:ext uri="{FF2B5EF4-FFF2-40B4-BE49-F238E27FC236}">
                  <a16:creationId xmlns:a16="http://schemas.microsoft.com/office/drawing/2014/main" id="{EB8DD703-2D4A-054C-F149-32614569E274}"/>
                </a:ext>
              </a:extLst>
            </p:cNvPr>
            <p:cNvSpPr/>
            <p:nvPr/>
          </p:nvSpPr>
          <p:spPr>
            <a:xfrm>
              <a:off x="1883156" y="2216882"/>
              <a:ext cx="3685" cy="505006"/>
            </a:xfrm>
            <a:custGeom>
              <a:avLst/>
              <a:gdLst>
                <a:gd name="connsiteX0" fmla="*/ 0 w 3685"/>
                <a:gd name="connsiteY0" fmla="*/ 0 h 505006"/>
                <a:gd name="connsiteX1" fmla="*/ 0 w 3685"/>
                <a:gd name="connsiteY1" fmla="*/ 505006 h 50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85" h="505006">
                  <a:moveTo>
                    <a:pt x="0" y="0"/>
                  </a:moveTo>
                  <a:lnTo>
                    <a:pt x="0" y="505006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5519">
              <a:extLst>
                <a:ext uri="{FF2B5EF4-FFF2-40B4-BE49-F238E27FC236}">
                  <a16:creationId xmlns:a16="http://schemas.microsoft.com/office/drawing/2014/main" id="{CC0DF6CD-ECD0-FD9B-9595-7B6EFA2A889A}"/>
                </a:ext>
              </a:extLst>
            </p:cNvPr>
            <p:cNvSpPr/>
            <p:nvPr/>
          </p:nvSpPr>
          <p:spPr>
            <a:xfrm>
              <a:off x="2016797" y="2216882"/>
              <a:ext cx="3685" cy="505006"/>
            </a:xfrm>
            <a:custGeom>
              <a:avLst/>
              <a:gdLst>
                <a:gd name="connsiteX0" fmla="*/ 0 w 3685"/>
                <a:gd name="connsiteY0" fmla="*/ 0 h 505006"/>
                <a:gd name="connsiteX1" fmla="*/ 0 w 3685"/>
                <a:gd name="connsiteY1" fmla="*/ 505006 h 50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85" h="505006">
                  <a:moveTo>
                    <a:pt x="0" y="0"/>
                  </a:moveTo>
                  <a:lnTo>
                    <a:pt x="0" y="505006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5520">
              <a:extLst>
                <a:ext uri="{FF2B5EF4-FFF2-40B4-BE49-F238E27FC236}">
                  <a16:creationId xmlns:a16="http://schemas.microsoft.com/office/drawing/2014/main" id="{57F9E93D-9D36-E3D4-54A3-521361287610}"/>
                </a:ext>
              </a:extLst>
            </p:cNvPr>
            <p:cNvSpPr/>
            <p:nvPr/>
          </p:nvSpPr>
          <p:spPr>
            <a:xfrm>
              <a:off x="2150475" y="2216882"/>
              <a:ext cx="3685" cy="505006"/>
            </a:xfrm>
            <a:custGeom>
              <a:avLst/>
              <a:gdLst>
                <a:gd name="connsiteX0" fmla="*/ 0 w 3685"/>
                <a:gd name="connsiteY0" fmla="*/ 0 h 505006"/>
                <a:gd name="connsiteX1" fmla="*/ 0 w 3685"/>
                <a:gd name="connsiteY1" fmla="*/ 505006 h 50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85" h="505006">
                  <a:moveTo>
                    <a:pt x="0" y="0"/>
                  </a:moveTo>
                  <a:lnTo>
                    <a:pt x="0" y="505006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5521">
              <a:extLst>
                <a:ext uri="{FF2B5EF4-FFF2-40B4-BE49-F238E27FC236}">
                  <a16:creationId xmlns:a16="http://schemas.microsoft.com/office/drawing/2014/main" id="{587624F3-8502-5453-C0C7-92FC3995C8D1}"/>
                </a:ext>
              </a:extLst>
            </p:cNvPr>
            <p:cNvSpPr/>
            <p:nvPr/>
          </p:nvSpPr>
          <p:spPr>
            <a:xfrm>
              <a:off x="2284116" y="2216882"/>
              <a:ext cx="3685" cy="505006"/>
            </a:xfrm>
            <a:custGeom>
              <a:avLst/>
              <a:gdLst>
                <a:gd name="connsiteX0" fmla="*/ 0 w 3685"/>
                <a:gd name="connsiteY0" fmla="*/ 0 h 505006"/>
                <a:gd name="connsiteX1" fmla="*/ 0 w 3685"/>
                <a:gd name="connsiteY1" fmla="*/ 505006 h 50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85" h="505006">
                  <a:moveTo>
                    <a:pt x="0" y="0"/>
                  </a:moveTo>
                  <a:lnTo>
                    <a:pt x="0" y="505006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5522">
              <a:extLst>
                <a:ext uri="{FF2B5EF4-FFF2-40B4-BE49-F238E27FC236}">
                  <a16:creationId xmlns:a16="http://schemas.microsoft.com/office/drawing/2014/main" id="{8D18F2FF-27AC-4960-5BAE-FD4EE731F067}"/>
                </a:ext>
              </a:extLst>
            </p:cNvPr>
            <p:cNvSpPr/>
            <p:nvPr/>
          </p:nvSpPr>
          <p:spPr>
            <a:xfrm>
              <a:off x="2417794" y="2216882"/>
              <a:ext cx="3685" cy="505006"/>
            </a:xfrm>
            <a:custGeom>
              <a:avLst/>
              <a:gdLst>
                <a:gd name="connsiteX0" fmla="*/ 0 w 3685"/>
                <a:gd name="connsiteY0" fmla="*/ 0 h 505006"/>
                <a:gd name="connsiteX1" fmla="*/ 0 w 3685"/>
                <a:gd name="connsiteY1" fmla="*/ 505006 h 50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85" h="505006">
                  <a:moveTo>
                    <a:pt x="0" y="0"/>
                  </a:moveTo>
                  <a:lnTo>
                    <a:pt x="0" y="505006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5523">
              <a:extLst>
                <a:ext uri="{FF2B5EF4-FFF2-40B4-BE49-F238E27FC236}">
                  <a16:creationId xmlns:a16="http://schemas.microsoft.com/office/drawing/2014/main" id="{C465F8E2-CA3F-0F9C-82CF-BDA5BF071B94}"/>
                </a:ext>
              </a:extLst>
            </p:cNvPr>
            <p:cNvSpPr/>
            <p:nvPr/>
          </p:nvSpPr>
          <p:spPr>
            <a:xfrm>
              <a:off x="2551472" y="2216882"/>
              <a:ext cx="3685" cy="505006"/>
            </a:xfrm>
            <a:custGeom>
              <a:avLst/>
              <a:gdLst>
                <a:gd name="connsiteX0" fmla="*/ 0 w 3685"/>
                <a:gd name="connsiteY0" fmla="*/ 0 h 505006"/>
                <a:gd name="connsiteX1" fmla="*/ 0 w 3685"/>
                <a:gd name="connsiteY1" fmla="*/ 505006 h 50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85" h="505006">
                  <a:moveTo>
                    <a:pt x="0" y="0"/>
                  </a:moveTo>
                  <a:lnTo>
                    <a:pt x="0" y="505006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5524">
              <a:extLst>
                <a:ext uri="{FF2B5EF4-FFF2-40B4-BE49-F238E27FC236}">
                  <a16:creationId xmlns:a16="http://schemas.microsoft.com/office/drawing/2014/main" id="{7BD9DCFB-3224-A157-5AD1-B4015BBF2398}"/>
                </a:ext>
              </a:extLst>
            </p:cNvPr>
            <p:cNvSpPr/>
            <p:nvPr/>
          </p:nvSpPr>
          <p:spPr>
            <a:xfrm>
              <a:off x="1752832" y="2304121"/>
              <a:ext cx="800299" cy="3685"/>
            </a:xfrm>
            <a:custGeom>
              <a:avLst/>
              <a:gdLst>
                <a:gd name="connsiteX0" fmla="*/ 0 w 800299"/>
                <a:gd name="connsiteY0" fmla="*/ 0 h 3685"/>
                <a:gd name="connsiteX1" fmla="*/ 800299 w 800299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299" h="3685">
                  <a:moveTo>
                    <a:pt x="0" y="0"/>
                  </a:moveTo>
                  <a:lnTo>
                    <a:pt x="800299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5525">
              <a:extLst>
                <a:ext uri="{FF2B5EF4-FFF2-40B4-BE49-F238E27FC236}">
                  <a16:creationId xmlns:a16="http://schemas.microsoft.com/office/drawing/2014/main" id="{8EEC74C2-8227-8101-25DF-3F18406524F8}"/>
                </a:ext>
              </a:extLst>
            </p:cNvPr>
            <p:cNvSpPr/>
            <p:nvPr/>
          </p:nvSpPr>
          <p:spPr>
            <a:xfrm>
              <a:off x="1752832" y="2408130"/>
              <a:ext cx="800299" cy="3685"/>
            </a:xfrm>
            <a:custGeom>
              <a:avLst/>
              <a:gdLst>
                <a:gd name="connsiteX0" fmla="*/ 0 w 800299"/>
                <a:gd name="connsiteY0" fmla="*/ 0 h 3685"/>
                <a:gd name="connsiteX1" fmla="*/ 800299 w 800299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299" h="3685">
                  <a:moveTo>
                    <a:pt x="0" y="0"/>
                  </a:moveTo>
                  <a:lnTo>
                    <a:pt x="800299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5526">
              <a:extLst>
                <a:ext uri="{FF2B5EF4-FFF2-40B4-BE49-F238E27FC236}">
                  <a16:creationId xmlns:a16="http://schemas.microsoft.com/office/drawing/2014/main" id="{4096DE87-F352-AB9E-EB65-2F4BFBC11284}"/>
                </a:ext>
              </a:extLst>
            </p:cNvPr>
            <p:cNvSpPr/>
            <p:nvPr/>
          </p:nvSpPr>
          <p:spPr>
            <a:xfrm>
              <a:off x="1752832" y="2512138"/>
              <a:ext cx="800299" cy="3685"/>
            </a:xfrm>
            <a:custGeom>
              <a:avLst/>
              <a:gdLst>
                <a:gd name="connsiteX0" fmla="*/ 0 w 800299"/>
                <a:gd name="connsiteY0" fmla="*/ 0 h 3685"/>
                <a:gd name="connsiteX1" fmla="*/ 800299 w 800299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299" h="3685">
                  <a:moveTo>
                    <a:pt x="0" y="0"/>
                  </a:moveTo>
                  <a:lnTo>
                    <a:pt x="800299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5527">
              <a:extLst>
                <a:ext uri="{FF2B5EF4-FFF2-40B4-BE49-F238E27FC236}">
                  <a16:creationId xmlns:a16="http://schemas.microsoft.com/office/drawing/2014/main" id="{326256A8-EF47-3326-81D0-4E8AB2E3AF0B}"/>
                </a:ext>
              </a:extLst>
            </p:cNvPr>
            <p:cNvSpPr/>
            <p:nvPr/>
          </p:nvSpPr>
          <p:spPr>
            <a:xfrm>
              <a:off x="1752832" y="2616184"/>
              <a:ext cx="800299" cy="3685"/>
            </a:xfrm>
            <a:custGeom>
              <a:avLst/>
              <a:gdLst>
                <a:gd name="connsiteX0" fmla="*/ 0 w 800299"/>
                <a:gd name="connsiteY0" fmla="*/ 0 h 3685"/>
                <a:gd name="connsiteX1" fmla="*/ 800299 w 800299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299" h="3685">
                  <a:moveTo>
                    <a:pt x="0" y="0"/>
                  </a:moveTo>
                  <a:lnTo>
                    <a:pt x="800299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5528">
              <a:extLst>
                <a:ext uri="{FF2B5EF4-FFF2-40B4-BE49-F238E27FC236}">
                  <a16:creationId xmlns:a16="http://schemas.microsoft.com/office/drawing/2014/main" id="{7855A5C6-E4FD-CE29-89F8-F4A78E666361}"/>
                </a:ext>
              </a:extLst>
            </p:cNvPr>
            <p:cNvSpPr/>
            <p:nvPr/>
          </p:nvSpPr>
          <p:spPr>
            <a:xfrm>
              <a:off x="2038063" y="2322549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5529">
              <a:extLst>
                <a:ext uri="{FF2B5EF4-FFF2-40B4-BE49-F238E27FC236}">
                  <a16:creationId xmlns:a16="http://schemas.microsoft.com/office/drawing/2014/main" id="{FBB20014-939D-F8FE-F100-135ACC252278}"/>
                </a:ext>
              </a:extLst>
            </p:cNvPr>
            <p:cNvSpPr/>
            <p:nvPr/>
          </p:nvSpPr>
          <p:spPr>
            <a:xfrm>
              <a:off x="2038063" y="2336002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5530">
              <a:extLst>
                <a:ext uri="{FF2B5EF4-FFF2-40B4-BE49-F238E27FC236}">
                  <a16:creationId xmlns:a16="http://schemas.microsoft.com/office/drawing/2014/main" id="{06E77BD2-A27B-AF9E-BFA1-AC0571084D85}"/>
                </a:ext>
              </a:extLst>
            </p:cNvPr>
            <p:cNvSpPr/>
            <p:nvPr/>
          </p:nvSpPr>
          <p:spPr>
            <a:xfrm>
              <a:off x="2038063" y="2349417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5531">
              <a:extLst>
                <a:ext uri="{FF2B5EF4-FFF2-40B4-BE49-F238E27FC236}">
                  <a16:creationId xmlns:a16="http://schemas.microsoft.com/office/drawing/2014/main" id="{B17DE371-C55F-3BC8-73A0-A91BBC2DDF0A}"/>
                </a:ext>
              </a:extLst>
            </p:cNvPr>
            <p:cNvSpPr/>
            <p:nvPr/>
          </p:nvSpPr>
          <p:spPr>
            <a:xfrm>
              <a:off x="2038063" y="2362833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5532">
              <a:extLst>
                <a:ext uri="{FF2B5EF4-FFF2-40B4-BE49-F238E27FC236}">
                  <a16:creationId xmlns:a16="http://schemas.microsoft.com/office/drawing/2014/main" id="{5D9A8E42-18AE-45B0-142A-F5178304A763}"/>
                </a:ext>
              </a:extLst>
            </p:cNvPr>
            <p:cNvSpPr/>
            <p:nvPr/>
          </p:nvSpPr>
          <p:spPr>
            <a:xfrm>
              <a:off x="2038063" y="2376249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5533">
              <a:extLst>
                <a:ext uri="{FF2B5EF4-FFF2-40B4-BE49-F238E27FC236}">
                  <a16:creationId xmlns:a16="http://schemas.microsoft.com/office/drawing/2014/main" id="{DEBA9E8C-0562-E06B-C880-5A62E2F2FF7D}"/>
                </a:ext>
              </a:extLst>
            </p:cNvPr>
            <p:cNvSpPr/>
            <p:nvPr/>
          </p:nvSpPr>
          <p:spPr>
            <a:xfrm>
              <a:off x="2179002" y="2434961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5534">
              <a:extLst>
                <a:ext uri="{FF2B5EF4-FFF2-40B4-BE49-F238E27FC236}">
                  <a16:creationId xmlns:a16="http://schemas.microsoft.com/office/drawing/2014/main" id="{A577D3CC-7A88-6C71-C830-A8D5ABE39FA4}"/>
                </a:ext>
              </a:extLst>
            </p:cNvPr>
            <p:cNvSpPr/>
            <p:nvPr/>
          </p:nvSpPr>
          <p:spPr>
            <a:xfrm>
              <a:off x="2179002" y="2448414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5535">
              <a:extLst>
                <a:ext uri="{FF2B5EF4-FFF2-40B4-BE49-F238E27FC236}">
                  <a16:creationId xmlns:a16="http://schemas.microsoft.com/office/drawing/2014/main" id="{AD234E99-EDB0-A092-6706-355C3F9ECE45}"/>
                </a:ext>
              </a:extLst>
            </p:cNvPr>
            <p:cNvSpPr/>
            <p:nvPr/>
          </p:nvSpPr>
          <p:spPr>
            <a:xfrm>
              <a:off x="2179002" y="2461829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5536">
              <a:extLst>
                <a:ext uri="{FF2B5EF4-FFF2-40B4-BE49-F238E27FC236}">
                  <a16:creationId xmlns:a16="http://schemas.microsoft.com/office/drawing/2014/main" id="{B770DE89-EA7B-C27D-D26A-FD2BDBE14179}"/>
                </a:ext>
              </a:extLst>
            </p:cNvPr>
            <p:cNvSpPr/>
            <p:nvPr/>
          </p:nvSpPr>
          <p:spPr>
            <a:xfrm>
              <a:off x="2179002" y="2475245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5537">
              <a:extLst>
                <a:ext uri="{FF2B5EF4-FFF2-40B4-BE49-F238E27FC236}">
                  <a16:creationId xmlns:a16="http://schemas.microsoft.com/office/drawing/2014/main" id="{8B37E554-EE79-9FF1-E9AD-8E0CD89296CE}"/>
                </a:ext>
              </a:extLst>
            </p:cNvPr>
            <p:cNvSpPr/>
            <p:nvPr/>
          </p:nvSpPr>
          <p:spPr>
            <a:xfrm>
              <a:off x="2179002" y="2488661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5538">
              <a:extLst>
                <a:ext uri="{FF2B5EF4-FFF2-40B4-BE49-F238E27FC236}">
                  <a16:creationId xmlns:a16="http://schemas.microsoft.com/office/drawing/2014/main" id="{04C35AEC-2125-7063-985C-37488B051439}"/>
                </a:ext>
              </a:extLst>
            </p:cNvPr>
            <p:cNvSpPr/>
            <p:nvPr/>
          </p:nvSpPr>
          <p:spPr>
            <a:xfrm>
              <a:off x="2041417" y="2641357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5539">
              <a:extLst>
                <a:ext uri="{FF2B5EF4-FFF2-40B4-BE49-F238E27FC236}">
                  <a16:creationId xmlns:a16="http://schemas.microsoft.com/office/drawing/2014/main" id="{7041418C-7249-8C88-6D3E-49100D333163}"/>
                </a:ext>
              </a:extLst>
            </p:cNvPr>
            <p:cNvSpPr/>
            <p:nvPr/>
          </p:nvSpPr>
          <p:spPr>
            <a:xfrm>
              <a:off x="2041417" y="2654773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5540">
              <a:extLst>
                <a:ext uri="{FF2B5EF4-FFF2-40B4-BE49-F238E27FC236}">
                  <a16:creationId xmlns:a16="http://schemas.microsoft.com/office/drawing/2014/main" id="{103F23A3-BBE7-72CA-0B29-FFFA1AA33EBD}"/>
                </a:ext>
              </a:extLst>
            </p:cNvPr>
            <p:cNvSpPr/>
            <p:nvPr/>
          </p:nvSpPr>
          <p:spPr>
            <a:xfrm>
              <a:off x="2041417" y="2668188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5541">
              <a:extLst>
                <a:ext uri="{FF2B5EF4-FFF2-40B4-BE49-F238E27FC236}">
                  <a16:creationId xmlns:a16="http://schemas.microsoft.com/office/drawing/2014/main" id="{0FA10BB2-3AA0-BBCE-7E4A-034995F3C782}"/>
                </a:ext>
              </a:extLst>
            </p:cNvPr>
            <p:cNvSpPr/>
            <p:nvPr/>
          </p:nvSpPr>
          <p:spPr>
            <a:xfrm>
              <a:off x="2041417" y="2681604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5542">
              <a:extLst>
                <a:ext uri="{FF2B5EF4-FFF2-40B4-BE49-F238E27FC236}">
                  <a16:creationId xmlns:a16="http://schemas.microsoft.com/office/drawing/2014/main" id="{D2274C96-EAD1-E907-4ED7-2D4CBD763203}"/>
                </a:ext>
              </a:extLst>
            </p:cNvPr>
            <p:cNvSpPr/>
            <p:nvPr/>
          </p:nvSpPr>
          <p:spPr>
            <a:xfrm>
              <a:off x="2041417" y="2695020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5543">
              <a:extLst>
                <a:ext uri="{FF2B5EF4-FFF2-40B4-BE49-F238E27FC236}">
                  <a16:creationId xmlns:a16="http://schemas.microsoft.com/office/drawing/2014/main" id="{EF5B420E-1E0B-0F16-26CF-BA2A2D417913}"/>
                </a:ext>
              </a:extLst>
            </p:cNvPr>
            <p:cNvSpPr/>
            <p:nvPr/>
          </p:nvSpPr>
          <p:spPr>
            <a:xfrm>
              <a:off x="2308184" y="2230298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5544">
              <a:extLst>
                <a:ext uri="{FF2B5EF4-FFF2-40B4-BE49-F238E27FC236}">
                  <a16:creationId xmlns:a16="http://schemas.microsoft.com/office/drawing/2014/main" id="{DD25E306-5961-BD01-AC43-9D0AC0E5D9AC}"/>
                </a:ext>
              </a:extLst>
            </p:cNvPr>
            <p:cNvSpPr/>
            <p:nvPr/>
          </p:nvSpPr>
          <p:spPr>
            <a:xfrm>
              <a:off x="2308184" y="2243713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5545">
              <a:extLst>
                <a:ext uri="{FF2B5EF4-FFF2-40B4-BE49-F238E27FC236}">
                  <a16:creationId xmlns:a16="http://schemas.microsoft.com/office/drawing/2014/main" id="{B07A0B3C-3E3D-884F-1303-44BAE55D2803}"/>
                </a:ext>
              </a:extLst>
            </p:cNvPr>
            <p:cNvSpPr/>
            <p:nvPr/>
          </p:nvSpPr>
          <p:spPr>
            <a:xfrm>
              <a:off x="2308184" y="2257129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5546">
              <a:extLst>
                <a:ext uri="{FF2B5EF4-FFF2-40B4-BE49-F238E27FC236}">
                  <a16:creationId xmlns:a16="http://schemas.microsoft.com/office/drawing/2014/main" id="{55552A7C-EB79-9251-E054-32A850346A98}"/>
                </a:ext>
              </a:extLst>
            </p:cNvPr>
            <p:cNvSpPr/>
            <p:nvPr/>
          </p:nvSpPr>
          <p:spPr>
            <a:xfrm>
              <a:off x="2308184" y="2270545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5547">
              <a:extLst>
                <a:ext uri="{FF2B5EF4-FFF2-40B4-BE49-F238E27FC236}">
                  <a16:creationId xmlns:a16="http://schemas.microsoft.com/office/drawing/2014/main" id="{88F2A2C4-6F57-A52C-DC85-76D5DA3E1735}"/>
                </a:ext>
              </a:extLst>
            </p:cNvPr>
            <p:cNvSpPr/>
            <p:nvPr/>
          </p:nvSpPr>
          <p:spPr>
            <a:xfrm>
              <a:off x="2308184" y="2283960"/>
              <a:ext cx="80531" cy="3685"/>
            </a:xfrm>
            <a:custGeom>
              <a:avLst/>
              <a:gdLst>
                <a:gd name="connsiteX0" fmla="*/ 0 w 80531"/>
                <a:gd name="connsiteY0" fmla="*/ 0 h 3685"/>
                <a:gd name="connsiteX1" fmla="*/ 80531 w 80531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531" h="3685">
                  <a:moveTo>
                    <a:pt x="0" y="0"/>
                  </a:moveTo>
                  <a:lnTo>
                    <a:pt x="80531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5548">
              <a:extLst>
                <a:ext uri="{FF2B5EF4-FFF2-40B4-BE49-F238E27FC236}">
                  <a16:creationId xmlns:a16="http://schemas.microsoft.com/office/drawing/2014/main" id="{CF30AAB7-61F1-41CF-09F3-2E350372AD12}"/>
                </a:ext>
              </a:extLst>
            </p:cNvPr>
            <p:cNvSpPr/>
            <p:nvPr/>
          </p:nvSpPr>
          <p:spPr>
            <a:xfrm rot="10800000">
              <a:off x="3230883" y="3003840"/>
              <a:ext cx="39325" cy="69842"/>
            </a:xfrm>
            <a:custGeom>
              <a:avLst/>
              <a:gdLst>
                <a:gd name="connsiteX0" fmla="*/ -28 w 39325"/>
                <a:gd name="connsiteY0" fmla="*/ -7 h 69842"/>
                <a:gd name="connsiteX1" fmla="*/ 39298 w 39325"/>
                <a:gd name="connsiteY1" fmla="*/ -7 h 69842"/>
                <a:gd name="connsiteX2" fmla="*/ 39298 w 39325"/>
                <a:gd name="connsiteY2" fmla="*/ 69836 h 69842"/>
                <a:gd name="connsiteX3" fmla="*/ -28 w 39325"/>
                <a:gd name="connsiteY3" fmla="*/ 69836 h 69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25" h="69842">
                  <a:moveTo>
                    <a:pt x="-28" y="-7"/>
                  </a:moveTo>
                  <a:lnTo>
                    <a:pt x="39298" y="-7"/>
                  </a:lnTo>
                  <a:lnTo>
                    <a:pt x="39298" y="69836"/>
                  </a:lnTo>
                  <a:lnTo>
                    <a:pt x="-28" y="69836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5549">
              <a:extLst>
                <a:ext uri="{FF2B5EF4-FFF2-40B4-BE49-F238E27FC236}">
                  <a16:creationId xmlns:a16="http://schemas.microsoft.com/office/drawing/2014/main" id="{7C6264C3-F3D0-DDBE-A003-559CB62843F1}"/>
                </a:ext>
              </a:extLst>
            </p:cNvPr>
            <p:cNvSpPr/>
            <p:nvPr/>
          </p:nvSpPr>
          <p:spPr>
            <a:xfrm rot="10800000">
              <a:off x="3155548" y="2725316"/>
              <a:ext cx="195965" cy="299789"/>
            </a:xfrm>
            <a:custGeom>
              <a:avLst/>
              <a:gdLst>
                <a:gd name="connsiteX0" fmla="*/ 138331 w 195965"/>
                <a:gd name="connsiteY0" fmla="*/ -7 h 299789"/>
                <a:gd name="connsiteX1" fmla="*/ 195938 w 195965"/>
                <a:gd name="connsiteY1" fmla="*/ -7 h 299789"/>
                <a:gd name="connsiteX2" fmla="*/ 195938 w 195965"/>
                <a:gd name="connsiteY2" fmla="*/ 299783 h 299789"/>
                <a:gd name="connsiteX3" fmla="*/ 138331 w 195965"/>
                <a:gd name="connsiteY3" fmla="*/ 299783 h 299789"/>
                <a:gd name="connsiteX4" fmla="*/ 57579 w 195965"/>
                <a:gd name="connsiteY4" fmla="*/ 299783 h 299789"/>
                <a:gd name="connsiteX5" fmla="*/ -28 w 195965"/>
                <a:gd name="connsiteY5" fmla="*/ 299783 h 299789"/>
                <a:gd name="connsiteX6" fmla="*/ -28 w 195965"/>
                <a:gd name="connsiteY6" fmla="*/ -7 h 299789"/>
                <a:gd name="connsiteX7" fmla="*/ 57579 w 195965"/>
                <a:gd name="connsiteY7" fmla="*/ -7 h 299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965" h="299789">
                  <a:moveTo>
                    <a:pt x="138331" y="-7"/>
                  </a:moveTo>
                  <a:cubicBezTo>
                    <a:pt x="170146" y="-7"/>
                    <a:pt x="195938" y="-7"/>
                    <a:pt x="195938" y="-7"/>
                  </a:cubicBezTo>
                  <a:lnTo>
                    <a:pt x="195938" y="299783"/>
                  </a:lnTo>
                  <a:cubicBezTo>
                    <a:pt x="195938" y="299783"/>
                    <a:pt x="170146" y="299783"/>
                    <a:pt x="138331" y="299783"/>
                  </a:cubicBezTo>
                  <a:lnTo>
                    <a:pt x="57579" y="299783"/>
                  </a:lnTo>
                  <a:cubicBezTo>
                    <a:pt x="25764" y="299783"/>
                    <a:pt x="-28" y="299783"/>
                    <a:pt x="-28" y="299783"/>
                  </a:cubicBezTo>
                  <a:lnTo>
                    <a:pt x="-28" y="-7"/>
                  </a:lnTo>
                  <a:cubicBezTo>
                    <a:pt x="-28" y="-7"/>
                    <a:pt x="25764" y="-7"/>
                    <a:pt x="57579" y="-7"/>
                  </a:cubicBezTo>
                  <a:close/>
                </a:path>
              </a:pathLst>
            </a:custGeom>
            <a:solidFill>
              <a:srgbClr val="949494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5550">
              <a:extLst>
                <a:ext uri="{FF2B5EF4-FFF2-40B4-BE49-F238E27FC236}">
                  <a16:creationId xmlns:a16="http://schemas.microsoft.com/office/drawing/2014/main" id="{44A988C6-C20A-FA0A-9658-63044337B868}"/>
                </a:ext>
              </a:extLst>
            </p:cNvPr>
            <p:cNvSpPr/>
            <p:nvPr/>
          </p:nvSpPr>
          <p:spPr>
            <a:xfrm>
              <a:off x="3312298" y="3422934"/>
              <a:ext cx="33318" cy="33318"/>
            </a:xfrm>
            <a:custGeom>
              <a:avLst/>
              <a:gdLst>
                <a:gd name="connsiteX0" fmla="*/ -28 w 33318"/>
                <a:gd name="connsiteY0" fmla="*/ 16689 h 33318"/>
                <a:gd name="connsiteX1" fmla="*/ 16595 w 33318"/>
                <a:gd name="connsiteY1" fmla="*/ -7 h 33318"/>
                <a:gd name="connsiteX2" fmla="*/ 33291 w 33318"/>
                <a:gd name="connsiteY2" fmla="*/ 16615 h 33318"/>
                <a:gd name="connsiteX3" fmla="*/ 16668 w 33318"/>
                <a:gd name="connsiteY3" fmla="*/ 33311 h 33318"/>
                <a:gd name="connsiteX4" fmla="*/ 16595 w 33318"/>
                <a:gd name="connsiteY4" fmla="*/ 33311 h 33318"/>
                <a:gd name="connsiteX5" fmla="*/ -28 w 33318"/>
                <a:gd name="connsiteY5" fmla="*/ 16689 h 3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18" h="33318">
                  <a:moveTo>
                    <a:pt x="-28" y="16689"/>
                  </a:moveTo>
                  <a:cubicBezTo>
                    <a:pt x="-50" y="7490"/>
                    <a:pt x="7395" y="15"/>
                    <a:pt x="16595" y="-7"/>
                  </a:cubicBezTo>
                  <a:cubicBezTo>
                    <a:pt x="25794" y="-25"/>
                    <a:pt x="33268" y="7416"/>
                    <a:pt x="33291" y="16615"/>
                  </a:cubicBezTo>
                  <a:cubicBezTo>
                    <a:pt x="33309" y="25815"/>
                    <a:pt x="25868" y="33293"/>
                    <a:pt x="16668" y="33311"/>
                  </a:cubicBezTo>
                  <a:cubicBezTo>
                    <a:pt x="16643" y="33311"/>
                    <a:pt x="16620" y="33311"/>
                    <a:pt x="16595" y="33311"/>
                  </a:cubicBezTo>
                  <a:cubicBezTo>
                    <a:pt x="7414" y="33311"/>
                    <a:pt x="-28" y="25870"/>
                    <a:pt x="-28" y="16689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5551">
              <a:extLst>
                <a:ext uri="{FF2B5EF4-FFF2-40B4-BE49-F238E27FC236}">
                  <a16:creationId xmlns:a16="http://schemas.microsoft.com/office/drawing/2014/main" id="{A0BC1788-C8DC-D09B-2A3E-FAEAF1AEB19B}"/>
                </a:ext>
              </a:extLst>
            </p:cNvPr>
            <p:cNvSpPr/>
            <p:nvPr/>
          </p:nvSpPr>
          <p:spPr>
            <a:xfrm>
              <a:off x="2987188" y="3422934"/>
              <a:ext cx="33318" cy="33318"/>
            </a:xfrm>
            <a:custGeom>
              <a:avLst/>
              <a:gdLst>
                <a:gd name="connsiteX0" fmla="*/ -28 w 33318"/>
                <a:gd name="connsiteY0" fmla="*/ 16689 h 33318"/>
                <a:gd name="connsiteX1" fmla="*/ 16595 w 33318"/>
                <a:gd name="connsiteY1" fmla="*/ -7 h 33318"/>
                <a:gd name="connsiteX2" fmla="*/ 33290 w 33318"/>
                <a:gd name="connsiteY2" fmla="*/ 16615 h 33318"/>
                <a:gd name="connsiteX3" fmla="*/ 16668 w 33318"/>
                <a:gd name="connsiteY3" fmla="*/ 33311 h 33318"/>
                <a:gd name="connsiteX4" fmla="*/ 16595 w 33318"/>
                <a:gd name="connsiteY4" fmla="*/ 33311 h 33318"/>
                <a:gd name="connsiteX5" fmla="*/ -28 w 33318"/>
                <a:gd name="connsiteY5" fmla="*/ 16689 h 3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18" h="33318">
                  <a:moveTo>
                    <a:pt x="-28" y="16689"/>
                  </a:moveTo>
                  <a:cubicBezTo>
                    <a:pt x="-46" y="7490"/>
                    <a:pt x="7395" y="15"/>
                    <a:pt x="16595" y="-7"/>
                  </a:cubicBezTo>
                  <a:cubicBezTo>
                    <a:pt x="25794" y="-25"/>
                    <a:pt x="33268" y="7416"/>
                    <a:pt x="33290" y="16615"/>
                  </a:cubicBezTo>
                  <a:cubicBezTo>
                    <a:pt x="33309" y="25815"/>
                    <a:pt x="25868" y="33293"/>
                    <a:pt x="16668" y="33311"/>
                  </a:cubicBezTo>
                  <a:cubicBezTo>
                    <a:pt x="16643" y="33311"/>
                    <a:pt x="16620" y="33311"/>
                    <a:pt x="16595" y="33311"/>
                  </a:cubicBezTo>
                  <a:cubicBezTo>
                    <a:pt x="7414" y="33311"/>
                    <a:pt x="-28" y="25870"/>
                    <a:pt x="-28" y="16689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5552">
              <a:extLst>
                <a:ext uri="{FF2B5EF4-FFF2-40B4-BE49-F238E27FC236}">
                  <a16:creationId xmlns:a16="http://schemas.microsoft.com/office/drawing/2014/main" id="{DF0B2B02-C3EB-BD18-5058-1C2F8CB53312}"/>
                </a:ext>
              </a:extLst>
            </p:cNvPr>
            <p:cNvSpPr/>
            <p:nvPr/>
          </p:nvSpPr>
          <p:spPr>
            <a:xfrm>
              <a:off x="3158276" y="3422971"/>
              <a:ext cx="15479" cy="33281"/>
            </a:xfrm>
            <a:custGeom>
              <a:avLst/>
              <a:gdLst>
                <a:gd name="connsiteX0" fmla="*/ -28 w 15479"/>
                <a:gd name="connsiteY0" fmla="*/ 16652 h 33281"/>
                <a:gd name="connsiteX1" fmla="*/ 7712 w 15479"/>
                <a:gd name="connsiteY1" fmla="*/ -7 h 33281"/>
                <a:gd name="connsiteX2" fmla="*/ 15452 w 15479"/>
                <a:gd name="connsiteY2" fmla="*/ 16652 h 33281"/>
                <a:gd name="connsiteX3" fmla="*/ 7712 w 15479"/>
                <a:gd name="connsiteY3" fmla="*/ 33274 h 33281"/>
                <a:gd name="connsiteX4" fmla="*/ -28 w 15479"/>
                <a:gd name="connsiteY4" fmla="*/ 16652 h 33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79" h="33281">
                  <a:moveTo>
                    <a:pt x="-28" y="16652"/>
                  </a:moveTo>
                  <a:cubicBezTo>
                    <a:pt x="-28" y="7438"/>
                    <a:pt x="3437" y="-7"/>
                    <a:pt x="7712" y="-7"/>
                  </a:cubicBezTo>
                  <a:cubicBezTo>
                    <a:pt x="11988" y="-7"/>
                    <a:pt x="15452" y="7364"/>
                    <a:pt x="15452" y="16652"/>
                  </a:cubicBezTo>
                  <a:cubicBezTo>
                    <a:pt x="15452" y="25940"/>
                    <a:pt x="11988" y="33274"/>
                    <a:pt x="7712" y="33274"/>
                  </a:cubicBezTo>
                  <a:cubicBezTo>
                    <a:pt x="3437" y="33274"/>
                    <a:pt x="-28" y="25829"/>
                    <a:pt x="-28" y="16652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5553">
              <a:extLst>
                <a:ext uri="{FF2B5EF4-FFF2-40B4-BE49-F238E27FC236}">
                  <a16:creationId xmlns:a16="http://schemas.microsoft.com/office/drawing/2014/main" id="{B2948FE1-1935-CC58-A78E-CC51F31BCC78}"/>
                </a:ext>
              </a:extLst>
            </p:cNvPr>
            <p:cNvSpPr/>
            <p:nvPr/>
          </p:nvSpPr>
          <p:spPr>
            <a:xfrm>
              <a:off x="2987225" y="3110760"/>
              <a:ext cx="357506" cy="319287"/>
            </a:xfrm>
            <a:custGeom>
              <a:avLst/>
              <a:gdLst>
                <a:gd name="connsiteX0" fmla="*/ 163679 w 357506"/>
                <a:gd name="connsiteY0" fmla="*/ 238535 h 319287"/>
                <a:gd name="connsiteX1" fmla="*/ 163679 w 357506"/>
                <a:gd name="connsiteY1" fmla="*/ 0 h 319287"/>
                <a:gd name="connsiteX2" fmla="*/ 196334 w 357506"/>
                <a:gd name="connsiteY2" fmla="*/ 0 h 319287"/>
                <a:gd name="connsiteX3" fmla="*/ 196334 w 357506"/>
                <a:gd name="connsiteY3" fmla="*/ 239530 h 319287"/>
                <a:gd name="connsiteX4" fmla="*/ 357507 w 357506"/>
                <a:gd name="connsiteY4" fmla="*/ 303254 h 319287"/>
                <a:gd name="connsiteX5" fmla="*/ 357507 w 357506"/>
                <a:gd name="connsiteY5" fmla="*/ 319287 h 319287"/>
                <a:gd name="connsiteX6" fmla="*/ 334103 w 357506"/>
                <a:gd name="connsiteY6" fmla="*/ 319287 h 319287"/>
                <a:gd name="connsiteX7" fmla="*/ 334103 w 357506"/>
                <a:gd name="connsiteY7" fmla="*/ 305724 h 319287"/>
                <a:gd name="connsiteX8" fmla="*/ 178753 w 357506"/>
                <a:gd name="connsiteY8" fmla="*/ 273696 h 319287"/>
                <a:gd name="connsiteX9" fmla="*/ 23441 w 357506"/>
                <a:gd name="connsiteY9" fmla="*/ 305724 h 319287"/>
                <a:gd name="connsiteX10" fmla="*/ 23441 w 357506"/>
                <a:gd name="connsiteY10" fmla="*/ 319287 h 319287"/>
                <a:gd name="connsiteX11" fmla="*/ 0 w 357506"/>
                <a:gd name="connsiteY11" fmla="*/ 319287 h 319287"/>
                <a:gd name="connsiteX12" fmla="*/ 0 w 357506"/>
                <a:gd name="connsiteY12" fmla="*/ 303254 h 319287"/>
                <a:gd name="connsiteX13" fmla="*/ 163679 w 357506"/>
                <a:gd name="connsiteY13" fmla="*/ 238535 h 319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7506" h="319287">
                  <a:moveTo>
                    <a:pt x="163679" y="238535"/>
                  </a:moveTo>
                  <a:lnTo>
                    <a:pt x="163679" y="0"/>
                  </a:lnTo>
                  <a:lnTo>
                    <a:pt x="196334" y="0"/>
                  </a:lnTo>
                  <a:lnTo>
                    <a:pt x="196334" y="239530"/>
                  </a:lnTo>
                  <a:lnTo>
                    <a:pt x="357507" y="303254"/>
                  </a:lnTo>
                  <a:lnTo>
                    <a:pt x="357507" y="319287"/>
                  </a:lnTo>
                  <a:lnTo>
                    <a:pt x="334103" y="319287"/>
                  </a:lnTo>
                  <a:lnTo>
                    <a:pt x="334103" y="305724"/>
                  </a:lnTo>
                  <a:lnTo>
                    <a:pt x="178753" y="273696"/>
                  </a:lnTo>
                  <a:lnTo>
                    <a:pt x="23441" y="305724"/>
                  </a:lnTo>
                  <a:lnTo>
                    <a:pt x="23441" y="319287"/>
                  </a:lnTo>
                  <a:lnTo>
                    <a:pt x="0" y="319287"/>
                  </a:lnTo>
                  <a:lnTo>
                    <a:pt x="0" y="303254"/>
                  </a:lnTo>
                  <a:lnTo>
                    <a:pt x="163679" y="238535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5554">
              <a:extLst>
                <a:ext uri="{FF2B5EF4-FFF2-40B4-BE49-F238E27FC236}">
                  <a16:creationId xmlns:a16="http://schemas.microsoft.com/office/drawing/2014/main" id="{AA734257-AABD-647A-CE2C-7AC35FF475E5}"/>
                </a:ext>
              </a:extLst>
            </p:cNvPr>
            <p:cNvSpPr/>
            <p:nvPr/>
          </p:nvSpPr>
          <p:spPr>
            <a:xfrm>
              <a:off x="3154369" y="3352575"/>
              <a:ext cx="23330" cy="77435"/>
            </a:xfrm>
            <a:custGeom>
              <a:avLst/>
              <a:gdLst>
                <a:gd name="connsiteX0" fmla="*/ 19829 w 23330"/>
                <a:gd name="connsiteY0" fmla="*/ 77435 h 77435"/>
                <a:gd name="connsiteX1" fmla="*/ 3501 w 23330"/>
                <a:gd name="connsiteY1" fmla="*/ 77435 h 77435"/>
                <a:gd name="connsiteX2" fmla="*/ 0 w 23330"/>
                <a:gd name="connsiteY2" fmla="*/ 0 h 77435"/>
                <a:gd name="connsiteX3" fmla="*/ 23330 w 23330"/>
                <a:gd name="connsiteY3" fmla="*/ 0 h 77435"/>
                <a:gd name="connsiteX4" fmla="*/ 19829 w 23330"/>
                <a:gd name="connsiteY4" fmla="*/ 77435 h 7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30" h="77435">
                  <a:moveTo>
                    <a:pt x="19829" y="77435"/>
                  </a:moveTo>
                  <a:lnTo>
                    <a:pt x="3501" y="77435"/>
                  </a:lnTo>
                  <a:lnTo>
                    <a:pt x="0" y="0"/>
                  </a:lnTo>
                  <a:lnTo>
                    <a:pt x="23330" y="0"/>
                  </a:lnTo>
                  <a:lnTo>
                    <a:pt x="19829" y="77435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5555">
              <a:extLst>
                <a:ext uri="{FF2B5EF4-FFF2-40B4-BE49-F238E27FC236}">
                  <a16:creationId xmlns:a16="http://schemas.microsoft.com/office/drawing/2014/main" id="{65FCC9E0-8C85-DCE3-0B9D-33A1FFD2069D}"/>
                </a:ext>
              </a:extLst>
            </p:cNvPr>
            <p:cNvSpPr/>
            <p:nvPr/>
          </p:nvSpPr>
          <p:spPr>
            <a:xfrm rot="10800000">
              <a:off x="3125732" y="3101657"/>
              <a:ext cx="83037" cy="49313"/>
            </a:xfrm>
            <a:custGeom>
              <a:avLst/>
              <a:gdLst>
                <a:gd name="connsiteX0" fmla="*/ -28 w 83037"/>
                <a:gd name="connsiteY0" fmla="*/ -7 h 49313"/>
                <a:gd name="connsiteX1" fmla="*/ 83010 w 83037"/>
                <a:gd name="connsiteY1" fmla="*/ -7 h 49313"/>
                <a:gd name="connsiteX2" fmla="*/ 83010 w 83037"/>
                <a:gd name="connsiteY2" fmla="*/ 49307 h 49313"/>
                <a:gd name="connsiteX3" fmla="*/ -28 w 83037"/>
                <a:gd name="connsiteY3" fmla="*/ 49307 h 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037" h="49313">
                  <a:moveTo>
                    <a:pt x="-28" y="-7"/>
                  </a:moveTo>
                  <a:lnTo>
                    <a:pt x="83010" y="-7"/>
                  </a:lnTo>
                  <a:lnTo>
                    <a:pt x="83010" y="49307"/>
                  </a:lnTo>
                  <a:lnTo>
                    <a:pt x="-28" y="49307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5556">
              <a:extLst>
                <a:ext uri="{FF2B5EF4-FFF2-40B4-BE49-F238E27FC236}">
                  <a16:creationId xmlns:a16="http://schemas.microsoft.com/office/drawing/2014/main" id="{58535F03-D247-A67B-A844-281132D10961}"/>
                </a:ext>
              </a:extLst>
            </p:cNvPr>
            <p:cNvSpPr/>
            <p:nvPr/>
          </p:nvSpPr>
          <p:spPr>
            <a:xfrm rot="10800000">
              <a:off x="3021944" y="3056250"/>
              <a:ext cx="298462" cy="63577"/>
            </a:xfrm>
            <a:custGeom>
              <a:avLst/>
              <a:gdLst>
                <a:gd name="connsiteX0" fmla="*/ 276653 w 298462"/>
                <a:gd name="connsiteY0" fmla="*/ -7 h 63577"/>
                <a:gd name="connsiteX1" fmla="*/ 298435 w 298462"/>
                <a:gd name="connsiteY1" fmla="*/ -7 h 63577"/>
                <a:gd name="connsiteX2" fmla="*/ 298435 w 298462"/>
                <a:gd name="connsiteY2" fmla="*/ 63570 h 63577"/>
                <a:gd name="connsiteX3" fmla="*/ 276653 w 298462"/>
                <a:gd name="connsiteY3" fmla="*/ 63570 h 63577"/>
                <a:gd name="connsiteX4" fmla="*/ 21755 w 298462"/>
                <a:gd name="connsiteY4" fmla="*/ 63570 h 63577"/>
                <a:gd name="connsiteX5" fmla="*/ -27 w 298462"/>
                <a:gd name="connsiteY5" fmla="*/ 63570 h 63577"/>
                <a:gd name="connsiteX6" fmla="*/ -27 w 298462"/>
                <a:gd name="connsiteY6" fmla="*/ -7 h 63577"/>
                <a:gd name="connsiteX7" fmla="*/ 21755 w 298462"/>
                <a:gd name="connsiteY7" fmla="*/ -7 h 6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462" h="63577">
                  <a:moveTo>
                    <a:pt x="276653" y="-7"/>
                  </a:moveTo>
                  <a:cubicBezTo>
                    <a:pt x="288683" y="-7"/>
                    <a:pt x="298435" y="-7"/>
                    <a:pt x="298435" y="-7"/>
                  </a:cubicBezTo>
                  <a:lnTo>
                    <a:pt x="298435" y="63570"/>
                  </a:lnTo>
                  <a:cubicBezTo>
                    <a:pt x="298435" y="63570"/>
                    <a:pt x="288683" y="63570"/>
                    <a:pt x="276653" y="63570"/>
                  </a:cubicBezTo>
                  <a:lnTo>
                    <a:pt x="21755" y="63570"/>
                  </a:lnTo>
                  <a:cubicBezTo>
                    <a:pt x="9725" y="63570"/>
                    <a:pt x="-27" y="63570"/>
                    <a:pt x="-27" y="63570"/>
                  </a:cubicBezTo>
                  <a:lnTo>
                    <a:pt x="-27" y="-7"/>
                  </a:lnTo>
                  <a:cubicBezTo>
                    <a:pt x="-27" y="-7"/>
                    <a:pt x="9725" y="-7"/>
                    <a:pt x="21755" y="-7"/>
                  </a:cubicBezTo>
                  <a:close/>
                </a:path>
              </a:pathLst>
            </a:custGeom>
            <a:solidFill>
              <a:srgbClr val="949494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5557">
              <a:extLst>
                <a:ext uri="{FF2B5EF4-FFF2-40B4-BE49-F238E27FC236}">
                  <a16:creationId xmlns:a16="http://schemas.microsoft.com/office/drawing/2014/main" id="{F25AC25A-E834-2228-1796-39C5E1268538}"/>
                </a:ext>
              </a:extLst>
            </p:cNvPr>
            <p:cNvSpPr/>
            <p:nvPr/>
          </p:nvSpPr>
          <p:spPr>
            <a:xfrm>
              <a:off x="2829185" y="3372957"/>
              <a:ext cx="174327" cy="80184"/>
            </a:xfrm>
            <a:custGeom>
              <a:avLst/>
              <a:gdLst>
                <a:gd name="connsiteX0" fmla="*/ 88022 w 174327"/>
                <a:gd name="connsiteY0" fmla="*/ -7 h 80184"/>
                <a:gd name="connsiteX1" fmla="*/ 52787 w 174327"/>
                <a:gd name="connsiteY1" fmla="*/ 32832 h 80184"/>
                <a:gd name="connsiteX2" fmla="*/ -28 w 174327"/>
                <a:gd name="connsiteY2" fmla="*/ 56015 h 80184"/>
                <a:gd name="connsiteX3" fmla="*/ 26361 w 174327"/>
                <a:gd name="connsiteY3" fmla="*/ 76839 h 80184"/>
                <a:gd name="connsiteX4" fmla="*/ 168037 w 174327"/>
                <a:gd name="connsiteY4" fmla="*/ 78423 h 80184"/>
                <a:gd name="connsiteX5" fmla="*/ 168848 w 174327"/>
                <a:gd name="connsiteY5" fmla="*/ 7991 h 80184"/>
                <a:gd name="connsiteX6" fmla="*/ 88022 w 174327"/>
                <a:gd name="connsiteY6" fmla="*/ -7 h 8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327" h="80184">
                  <a:moveTo>
                    <a:pt x="88022" y="-7"/>
                  </a:moveTo>
                  <a:cubicBezTo>
                    <a:pt x="78509" y="13114"/>
                    <a:pt x="66546" y="24267"/>
                    <a:pt x="52787" y="32832"/>
                  </a:cubicBezTo>
                  <a:cubicBezTo>
                    <a:pt x="31964" y="44810"/>
                    <a:pt x="-28" y="49638"/>
                    <a:pt x="-28" y="56015"/>
                  </a:cubicBezTo>
                  <a:cubicBezTo>
                    <a:pt x="-28" y="62391"/>
                    <a:pt x="2368" y="73632"/>
                    <a:pt x="26361" y="76839"/>
                  </a:cubicBezTo>
                  <a:cubicBezTo>
                    <a:pt x="50355" y="80045"/>
                    <a:pt x="154437" y="81630"/>
                    <a:pt x="168037" y="78423"/>
                  </a:cubicBezTo>
                  <a:cubicBezTo>
                    <a:pt x="181637" y="75217"/>
                    <a:pt x="168848" y="7991"/>
                    <a:pt x="168848" y="7991"/>
                  </a:cubicBezTo>
                  <a:cubicBezTo>
                    <a:pt x="168848" y="7991"/>
                    <a:pt x="105603" y="11197"/>
                    <a:pt x="88022" y="-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5558">
              <a:extLst>
                <a:ext uri="{FF2B5EF4-FFF2-40B4-BE49-F238E27FC236}">
                  <a16:creationId xmlns:a16="http://schemas.microsoft.com/office/drawing/2014/main" id="{AB74E376-E061-8CB7-1E95-10188D1F3625}"/>
                </a:ext>
              </a:extLst>
            </p:cNvPr>
            <p:cNvSpPr/>
            <p:nvPr/>
          </p:nvSpPr>
          <p:spPr>
            <a:xfrm>
              <a:off x="2829222" y="3428978"/>
              <a:ext cx="173962" cy="24162"/>
            </a:xfrm>
            <a:custGeom>
              <a:avLst/>
              <a:gdLst>
                <a:gd name="connsiteX0" fmla="*/ 26362 w 173962"/>
                <a:gd name="connsiteY0" fmla="*/ 20817 h 24162"/>
                <a:gd name="connsiteX1" fmla="*/ 168038 w 173962"/>
                <a:gd name="connsiteY1" fmla="*/ 22402 h 24162"/>
                <a:gd name="connsiteX2" fmla="*/ 173935 w 173962"/>
                <a:gd name="connsiteY2" fmla="*/ 9613 h 24162"/>
                <a:gd name="connsiteX3" fmla="*/ 54409 w 173962"/>
                <a:gd name="connsiteY3" fmla="*/ 9613 h 24162"/>
                <a:gd name="connsiteX4" fmla="*/ -27 w 173962"/>
                <a:gd name="connsiteY4" fmla="*/ -7 h 24162"/>
                <a:gd name="connsiteX5" fmla="*/ 26362 w 173962"/>
                <a:gd name="connsiteY5" fmla="*/ 20817 h 24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962" h="24162">
                  <a:moveTo>
                    <a:pt x="26362" y="20817"/>
                  </a:moveTo>
                  <a:cubicBezTo>
                    <a:pt x="50392" y="24023"/>
                    <a:pt x="154438" y="25608"/>
                    <a:pt x="168038" y="22402"/>
                  </a:cubicBezTo>
                  <a:cubicBezTo>
                    <a:pt x="171502" y="21591"/>
                    <a:pt x="173271" y="16615"/>
                    <a:pt x="173935" y="9613"/>
                  </a:cubicBezTo>
                  <a:cubicBezTo>
                    <a:pt x="144929" y="10534"/>
                    <a:pt x="88354" y="11382"/>
                    <a:pt x="54409" y="9613"/>
                  </a:cubicBezTo>
                  <a:cubicBezTo>
                    <a:pt x="8781" y="7217"/>
                    <a:pt x="-27" y="-7"/>
                    <a:pt x="-27" y="-7"/>
                  </a:cubicBezTo>
                  <a:cubicBezTo>
                    <a:pt x="-64" y="6406"/>
                    <a:pt x="2331" y="17610"/>
                    <a:pt x="26362" y="2081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5559">
              <a:extLst>
                <a:ext uri="{FF2B5EF4-FFF2-40B4-BE49-F238E27FC236}">
                  <a16:creationId xmlns:a16="http://schemas.microsoft.com/office/drawing/2014/main" id="{5EAF6E70-B686-207C-5968-3E15B5DC8362}"/>
                </a:ext>
              </a:extLst>
            </p:cNvPr>
            <p:cNvSpPr/>
            <p:nvPr/>
          </p:nvSpPr>
          <p:spPr>
            <a:xfrm>
              <a:off x="2845181" y="2729481"/>
              <a:ext cx="158482" cy="667395"/>
            </a:xfrm>
            <a:custGeom>
              <a:avLst/>
              <a:gdLst>
                <a:gd name="connsiteX0" fmla="*/ -28 w 158482"/>
                <a:gd name="connsiteY0" fmla="*/ 17574 h 667395"/>
                <a:gd name="connsiteX1" fmla="*/ 11988 w 158482"/>
                <a:gd name="connsiteY1" fmla="*/ 152063 h 667395"/>
                <a:gd name="connsiteX2" fmla="*/ 52013 w 158482"/>
                <a:gd name="connsiteY2" fmla="*/ 397747 h 667395"/>
                <a:gd name="connsiteX3" fmla="*/ 80024 w 158482"/>
                <a:gd name="connsiteY3" fmla="*/ 622571 h 667395"/>
                <a:gd name="connsiteX4" fmla="*/ 65613 w 158482"/>
                <a:gd name="connsiteY4" fmla="*/ 634550 h 667395"/>
                <a:gd name="connsiteX5" fmla="*/ 67198 w 158482"/>
                <a:gd name="connsiteY5" fmla="*/ 650582 h 667395"/>
                <a:gd name="connsiteX6" fmla="*/ 116844 w 158482"/>
                <a:gd name="connsiteY6" fmla="*/ 667389 h 667395"/>
                <a:gd name="connsiteX7" fmla="*/ 158455 w 158482"/>
                <a:gd name="connsiteY7" fmla="*/ 659538 h 667395"/>
                <a:gd name="connsiteX8" fmla="*/ 151083 w 158482"/>
                <a:gd name="connsiteY8" fmla="*/ 532273 h 667395"/>
                <a:gd name="connsiteX9" fmla="*/ 125505 w 158482"/>
                <a:gd name="connsiteY9" fmla="*/ 237717 h 667395"/>
                <a:gd name="connsiteX10" fmla="*/ 120972 w 158482"/>
                <a:gd name="connsiteY10" fmla="*/ -7 h 66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8482" h="667395">
                  <a:moveTo>
                    <a:pt x="-28" y="17574"/>
                  </a:moveTo>
                  <a:cubicBezTo>
                    <a:pt x="-28" y="17574"/>
                    <a:pt x="6385" y="112037"/>
                    <a:pt x="11988" y="152063"/>
                  </a:cubicBezTo>
                  <a:cubicBezTo>
                    <a:pt x="17590" y="192089"/>
                    <a:pt x="38413" y="355326"/>
                    <a:pt x="52013" y="397747"/>
                  </a:cubicBezTo>
                  <a:cubicBezTo>
                    <a:pt x="65613" y="440169"/>
                    <a:pt x="80024" y="622571"/>
                    <a:pt x="80024" y="622571"/>
                  </a:cubicBezTo>
                  <a:cubicBezTo>
                    <a:pt x="80024" y="622571"/>
                    <a:pt x="64803" y="628174"/>
                    <a:pt x="65613" y="634550"/>
                  </a:cubicBezTo>
                  <a:cubicBezTo>
                    <a:pt x="66424" y="640926"/>
                    <a:pt x="67198" y="650582"/>
                    <a:pt x="67198" y="650582"/>
                  </a:cubicBezTo>
                  <a:cubicBezTo>
                    <a:pt x="67198" y="650582"/>
                    <a:pt x="98416" y="667389"/>
                    <a:pt x="116844" y="667389"/>
                  </a:cubicBezTo>
                  <a:cubicBezTo>
                    <a:pt x="135272" y="667389"/>
                    <a:pt x="158455" y="659538"/>
                    <a:pt x="158455" y="659538"/>
                  </a:cubicBezTo>
                  <a:cubicBezTo>
                    <a:pt x="158455" y="659538"/>
                    <a:pt x="153663" y="588295"/>
                    <a:pt x="151083" y="532273"/>
                  </a:cubicBezTo>
                  <a:cubicBezTo>
                    <a:pt x="148503" y="476251"/>
                    <a:pt x="125505" y="237717"/>
                    <a:pt x="125505" y="237717"/>
                  </a:cubicBezTo>
                  <a:lnTo>
                    <a:pt x="120972" y="-7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5560">
              <a:extLst>
                <a:ext uri="{FF2B5EF4-FFF2-40B4-BE49-F238E27FC236}">
                  <a16:creationId xmlns:a16="http://schemas.microsoft.com/office/drawing/2014/main" id="{2556576F-55F2-E88B-2501-854D133EC3F7}"/>
                </a:ext>
              </a:extLst>
            </p:cNvPr>
            <p:cNvSpPr/>
            <p:nvPr/>
          </p:nvSpPr>
          <p:spPr>
            <a:xfrm>
              <a:off x="2900494" y="3390574"/>
              <a:ext cx="170808" cy="79038"/>
            </a:xfrm>
            <a:custGeom>
              <a:avLst/>
              <a:gdLst>
                <a:gd name="connsiteX0" fmla="*/ 79923 w 170808"/>
                <a:gd name="connsiteY0" fmla="*/ -7 h 79038"/>
                <a:gd name="connsiteX1" fmla="*/ 41518 w 170808"/>
                <a:gd name="connsiteY1" fmla="*/ 28815 h 79038"/>
                <a:gd name="connsiteX2" fmla="*/ 1492 w 170808"/>
                <a:gd name="connsiteY2" fmla="*/ 68841 h 79038"/>
                <a:gd name="connsiteX3" fmla="*/ 120759 w 170808"/>
                <a:gd name="connsiteY3" fmla="*/ 76028 h 79038"/>
                <a:gd name="connsiteX4" fmla="*/ 170368 w 170808"/>
                <a:gd name="connsiteY4" fmla="*/ 63238 h 79038"/>
                <a:gd name="connsiteX5" fmla="*/ 163955 w 170808"/>
                <a:gd name="connsiteY5" fmla="*/ 7954 h 79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808" h="79038">
                  <a:moveTo>
                    <a:pt x="79923" y="-7"/>
                  </a:moveTo>
                  <a:cubicBezTo>
                    <a:pt x="79923" y="-7"/>
                    <a:pt x="81544" y="15215"/>
                    <a:pt x="41518" y="28815"/>
                  </a:cubicBezTo>
                  <a:cubicBezTo>
                    <a:pt x="1492" y="42415"/>
                    <a:pt x="-3299" y="56826"/>
                    <a:pt x="1492" y="68841"/>
                  </a:cubicBezTo>
                  <a:cubicBezTo>
                    <a:pt x="6284" y="80856"/>
                    <a:pt x="89542" y="80819"/>
                    <a:pt x="120759" y="76028"/>
                  </a:cubicBezTo>
                  <a:cubicBezTo>
                    <a:pt x="151977" y="71236"/>
                    <a:pt x="167972" y="69615"/>
                    <a:pt x="170368" y="63238"/>
                  </a:cubicBezTo>
                  <a:cubicBezTo>
                    <a:pt x="172764" y="56862"/>
                    <a:pt x="163955" y="7954"/>
                    <a:pt x="163955" y="7954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5561">
              <a:extLst>
                <a:ext uri="{FF2B5EF4-FFF2-40B4-BE49-F238E27FC236}">
                  <a16:creationId xmlns:a16="http://schemas.microsoft.com/office/drawing/2014/main" id="{A5539732-679C-6390-BE70-0AF9D4164430}"/>
                </a:ext>
              </a:extLst>
            </p:cNvPr>
            <p:cNvSpPr/>
            <p:nvPr/>
          </p:nvSpPr>
          <p:spPr>
            <a:xfrm>
              <a:off x="2900760" y="3445232"/>
              <a:ext cx="170585" cy="24370"/>
            </a:xfrm>
            <a:custGeom>
              <a:avLst/>
              <a:gdLst>
                <a:gd name="connsiteX0" fmla="*/ 170101 w 170585"/>
                <a:gd name="connsiteY0" fmla="*/ 8580 h 24370"/>
                <a:gd name="connsiteX1" fmla="*/ 170322 w 170585"/>
                <a:gd name="connsiteY1" fmla="*/ -7 h 24370"/>
                <a:gd name="connsiteX2" fmla="*/ 125284 w 170585"/>
                <a:gd name="connsiteY2" fmla="*/ 8580 h 24370"/>
                <a:gd name="connsiteX3" fmla="*/ -28 w 170585"/>
                <a:gd name="connsiteY3" fmla="*/ 8875 h 24370"/>
                <a:gd name="connsiteX4" fmla="*/ 1336 w 170585"/>
                <a:gd name="connsiteY4" fmla="*/ 14183 h 24370"/>
                <a:gd name="connsiteX5" fmla="*/ 120603 w 170585"/>
                <a:gd name="connsiteY5" fmla="*/ 21370 h 24370"/>
                <a:gd name="connsiteX6" fmla="*/ 170101 w 170585"/>
                <a:gd name="connsiteY6" fmla="*/ 8580 h 24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0585" h="24370">
                  <a:moveTo>
                    <a:pt x="170101" y="8580"/>
                  </a:moveTo>
                  <a:cubicBezTo>
                    <a:pt x="170625" y="5746"/>
                    <a:pt x="170698" y="2849"/>
                    <a:pt x="170322" y="-7"/>
                  </a:cubicBezTo>
                  <a:cubicBezTo>
                    <a:pt x="159265" y="2020"/>
                    <a:pt x="144523" y="4784"/>
                    <a:pt x="125284" y="8580"/>
                  </a:cubicBezTo>
                  <a:cubicBezTo>
                    <a:pt x="82531" y="16873"/>
                    <a:pt x="26140" y="11971"/>
                    <a:pt x="-28" y="8875"/>
                  </a:cubicBezTo>
                  <a:cubicBezTo>
                    <a:pt x="190" y="10696"/>
                    <a:pt x="651" y="12480"/>
                    <a:pt x="1336" y="14183"/>
                  </a:cubicBezTo>
                  <a:cubicBezTo>
                    <a:pt x="6127" y="26161"/>
                    <a:pt x="89386" y="26161"/>
                    <a:pt x="120603" y="21370"/>
                  </a:cubicBezTo>
                  <a:cubicBezTo>
                    <a:pt x="151821" y="16578"/>
                    <a:pt x="167706" y="14957"/>
                    <a:pt x="170101" y="8580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5562">
              <a:extLst>
                <a:ext uri="{FF2B5EF4-FFF2-40B4-BE49-F238E27FC236}">
                  <a16:creationId xmlns:a16="http://schemas.microsoft.com/office/drawing/2014/main" id="{B4ABD69D-832D-8C6C-4EF7-3B60DCC8D27F}"/>
                </a:ext>
              </a:extLst>
            </p:cNvPr>
            <p:cNvSpPr/>
            <p:nvPr/>
          </p:nvSpPr>
          <p:spPr>
            <a:xfrm>
              <a:off x="2874039" y="2735783"/>
              <a:ext cx="192820" cy="673687"/>
            </a:xfrm>
            <a:custGeom>
              <a:avLst/>
              <a:gdLst>
                <a:gd name="connsiteX0" fmla="*/ -28 w 192820"/>
                <a:gd name="connsiteY0" fmla="*/ 34491 h 673687"/>
                <a:gd name="connsiteX1" fmla="*/ 23192 w 192820"/>
                <a:gd name="connsiteY1" fmla="*/ 62501 h 673687"/>
                <a:gd name="connsiteX2" fmla="*/ 47185 w 192820"/>
                <a:gd name="connsiteY2" fmla="*/ 306638 h 673687"/>
                <a:gd name="connsiteX3" fmla="*/ 84042 w 192820"/>
                <a:gd name="connsiteY3" fmla="*/ 537138 h 673687"/>
                <a:gd name="connsiteX4" fmla="*/ 103170 w 192820"/>
                <a:gd name="connsiteY4" fmla="*/ 633186 h 673687"/>
                <a:gd name="connsiteX5" fmla="*/ 98379 w 192820"/>
                <a:gd name="connsiteY5" fmla="*/ 645164 h 673687"/>
                <a:gd name="connsiteX6" fmla="*/ 98379 w 192820"/>
                <a:gd name="connsiteY6" fmla="*/ 661197 h 673687"/>
                <a:gd name="connsiteX7" fmla="*/ 127864 w 192820"/>
                <a:gd name="connsiteY7" fmla="*/ 671590 h 673687"/>
                <a:gd name="connsiteX8" fmla="*/ 188714 w 192820"/>
                <a:gd name="connsiteY8" fmla="*/ 671590 h 673687"/>
                <a:gd name="connsiteX9" fmla="*/ 192694 w 192820"/>
                <a:gd name="connsiteY9" fmla="*/ 649182 h 673687"/>
                <a:gd name="connsiteX10" fmla="*/ 190299 w 192820"/>
                <a:gd name="connsiteY10" fmla="*/ 617964 h 673687"/>
                <a:gd name="connsiteX11" fmla="*/ 172718 w 192820"/>
                <a:gd name="connsiteY11" fmla="*/ 464310 h 673687"/>
                <a:gd name="connsiteX12" fmla="*/ 142275 w 192820"/>
                <a:gd name="connsiteY12" fmla="*/ 279401 h 673687"/>
                <a:gd name="connsiteX13" fmla="*/ 143896 w 192820"/>
                <a:gd name="connsiteY13" fmla="*/ 84062 h 673687"/>
                <a:gd name="connsiteX14" fmla="*/ 160703 w 192820"/>
                <a:gd name="connsiteY14" fmla="*/ 40830 h 673687"/>
                <a:gd name="connsiteX15" fmla="*/ 157496 w 192820"/>
                <a:gd name="connsiteY15" fmla="*/ -7 h 673687"/>
                <a:gd name="connsiteX16" fmla="*/ 1520 w 192820"/>
                <a:gd name="connsiteY16" fmla="*/ -7 h 67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2820" h="673687">
                  <a:moveTo>
                    <a:pt x="-28" y="34491"/>
                  </a:moveTo>
                  <a:lnTo>
                    <a:pt x="23192" y="62501"/>
                  </a:lnTo>
                  <a:cubicBezTo>
                    <a:pt x="23192" y="62501"/>
                    <a:pt x="40772" y="256182"/>
                    <a:pt x="47185" y="306638"/>
                  </a:cubicBezTo>
                  <a:cubicBezTo>
                    <a:pt x="53598" y="357095"/>
                    <a:pt x="84042" y="537138"/>
                    <a:pt x="84042" y="537138"/>
                  </a:cubicBezTo>
                  <a:lnTo>
                    <a:pt x="103170" y="633186"/>
                  </a:lnTo>
                  <a:lnTo>
                    <a:pt x="98379" y="645164"/>
                  </a:lnTo>
                  <a:cubicBezTo>
                    <a:pt x="97177" y="650442"/>
                    <a:pt x="97177" y="655919"/>
                    <a:pt x="98379" y="661197"/>
                  </a:cubicBezTo>
                  <a:cubicBezTo>
                    <a:pt x="99190" y="664403"/>
                    <a:pt x="97568" y="666799"/>
                    <a:pt x="127864" y="671590"/>
                  </a:cubicBezTo>
                  <a:cubicBezTo>
                    <a:pt x="148050" y="674377"/>
                    <a:pt x="168527" y="674377"/>
                    <a:pt x="188714" y="671590"/>
                  </a:cubicBezTo>
                  <a:cubicBezTo>
                    <a:pt x="191360" y="664414"/>
                    <a:pt x="192705" y="656829"/>
                    <a:pt x="192694" y="649182"/>
                  </a:cubicBezTo>
                  <a:cubicBezTo>
                    <a:pt x="193092" y="638718"/>
                    <a:pt x="192289" y="628244"/>
                    <a:pt x="190299" y="617964"/>
                  </a:cubicBezTo>
                  <a:cubicBezTo>
                    <a:pt x="187903" y="605175"/>
                    <a:pt x="190299" y="537138"/>
                    <a:pt x="172718" y="464310"/>
                  </a:cubicBezTo>
                  <a:cubicBezTo>
                    <a:pt x="155138" y="391482"/>
                    <a:pt x="142275" y="307412"/>
                    <a:pt x="142275" y="279401"/>
                  </a:cubicBezTo>
                  <a:cubicBezTo>
                    <a:pt x="142275" y="251391"/>
                    <a:pt x="143086" y="87306"/>
                    <a:pt x="143896" y="84062"/>
                  </a:cubicBezTo>
                  <a:cubicBezTo>
                    <a:pt x="144707" y="80819"/>
                    <a:pt x="159892" y="70426"/>
                    <a:pt x="160703" y="40830"/>
                  </a:cubicBezTo>
                  <a:cubicBezTo>
                    <a:pt x="161514" y="11234"/>
                    <a:pt x="157496" y="-7"/>
                    <a:pt x="157496" y="-7"/>
                  </a:cubicBezTo>
                  <a:lnTo>
                    <a:pt x="1520" y="-7"/>
                  </a:lnTo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5563">
              <a:extLst>
                <a:ext uri="{FF2B5EF4-FFF2-40B4-BE49-F238E27FC236}">
                  <a16:creationId xmlns:a16="http://schemas.microsoft.com/office/drawing/2014/main" id="{946C14C4-7541-BCC3-AE1E-9913FB1CA302}"/>
                </a:ext>
              </a:extLst>
            </p:cNvPr>
            <p:cNvSpPr/>
            <p:nvPr/>
          </p:nvSpPr>
          <p:spPr>
            <a:xfrm>
              <a:off x="2830630" y="2317254"/>
              <a:ext cx="211505" cy="441648"/>
            </a:xfrm>
            <a:custGeom>
              <a:avLst/>
              <a:gdLst>
                <a:gd name="connsiteX0" fmla="*/ 42534 w 211505"/>
                <a:gd name="connsiteY0" fmla="*/ 56850 h 441648"/>
                <a:gd name="connsiteX1" fmla="*/ 4130 w 211505"/>
                <a:gd name="connsiteY1" fmla="*/ 205640 h 441648"/>
                <a:gd name="connsiteX2" fmla="*/ 4941 w 211505"/>
                <a:gd name="connsiteY2" fmla="*/ 352107 h 441648"/>
                <a:gd name="connsiteX3" fmla="*/ 1734 w 211505"/>
                <a:gd name="connsiteY3" fmla="*/ 432933 h 441648"/>
                <a:gd name="connsiteX4" fmla="*/ 16919 w 211505"/>
                <a:gd name="connsiteY4" fmla="*/ 440304 h 441648"/>
                <a:gd name="connsiteX5" fmla="*/ 200206 w 211505"/>
                <a:gd name="connsiteY5" fmla="*/ 441078 h 441648"/>
                <a:gd name="connsiteX6" fmla="*/ 211263 w 211505"/>
                <a:gd name="connsiteY6" fmla="*/ 421065 h 441648"/>
                <a:gd name="connsiteX7" fmla="*/ 206471 w 211505"/>
                <a:gd name="connsiteY7" fmla="*/ 303420 h 441648"/>
                <a:gd name="connsiteX8" fmla="*/ 191250 w 211505"/>
                <a:gd name="connsiteY8" fmla="*/ 83313 h 441648"/>
                <a:gd name="connsiteX9" fmla="*/ 115215 w 211505"/>
                <a:gd name="connsiteY9" fmla="*/ 91 h 441648"/>
                <a:gd name="connsiteX10" fmla="*/ 42534 w 211505"/>
                <a:gd name="connsiteY10" fmla="*/ 56850 h 44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1505" h="441648">
                  <a:moveTo>
                    <a:pt x="42534" y="56850"/>
                  </a:moveTo>
                  <a:cubicBezTo>
                    <a:pt x="42534" y="56850"/>
                    <a:pt x="6526" y="146669"/>
                    <a:pt x="4130" y="205640"/>
                  </a:cubicBezTo>
                  <a:cubicBezTo>
                    <a:pt x="1734" y="264610"/>
                    <a:pt x="4130" y="348900"/>
                    <a:pt x="4941" y="352107"/>
                  </a:cubicBezTo>
                  <a:cubicBezTo>
                    <a:pt x="5752" y="355313"/>
                    <a:pt x="-3868" y="422540"/>
                    <a:pt x="1734" y="432933"/>
                  </a:cubicBezTo>
                  <a:cubicBezTo>
                    <a:pt x="4237" y="438845"/>
                    <a:pt x="10727" y="441992"/>
                    <a:pt x="16919" y="440304"/>
                  </a:cubicBezTo>
                  <a:cubicBezTo>
                    <a:pt x="16919" y="440304"/>
                    <a:pt x="192208" y="442700"/>
                    <a:pt x="200206" y="441078"/>
                  </a:cubicBezTo>
                  <a:cubicBezTo>
                    <a:pt x="208204" y="439457"/>
                    <a:pt x="209825" y="429100"/>
                    <a:pt x="211263" y="421065"/>
                  </a:cubicBezTo>
                  <a:cubicBezTo>
                    <a:pt x="212700" y="413030"/>
                    <a:pt x="206471" y="317867"/>
                    <a:pt x="206471" y="303420"/>
                  </a:cubicBezTo>
                  <a:cubicBezTo>
                    <a:pt x="206471" y="288972"/>
                    <a:pt x="211263" y="128131"/>
                    <a:pt x="191250" y="83313"/>
                  </a:cubicBezTo>
                  <a:cubicBezTo>
                    <a:pt x="171237" y="38496"/>
                    <a:pt x="121628" y="1676"/>
                    <a:pt x="115215" y="91"/>
                  </a:cubicBezTo>
                  <a:cubicBezTo>
                    <a:pt x="108802" y="-1493"/>
                    <a:pt x="56945" y="16013"/>
                    <a:pt x="42534" y="56850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5564">
              <a:extLst>
                <a:ext uri="{FF2B5EF4-FFF2-40B4-BE49-F238E27FC236}">
                  <a16:creationId xmlns:a16="http://schemas.microsoft.com/office/drawing/2014/main" id="{A00DCB9C-A45B-3267-2CCD-888BAFB52F7B}"/>
                </a:ext>
              </a:extLst>
            </p:cNvPr>
            <p:cNvSpPr/>
            <p:nvPr/>
          </p:nvSpPr>
          <p:spPr>
            <a:xfrm>
              <a:off x="2773311" y="2174534"/>
              <a:ext cx="177684" cy="224432"/>
            </a:xfrm>
            <a:custGeom>
              <a:avLst/>
              <a:gdLst>
                <a:gd name="connsiteX0" fmla="*/ 12246 w 177684"/>
                <a:gd name="connsiteY0" fmla="*/ 23286 h 224432"/>
                <a:gd name="connsiteX1" fmla="*/ 7933 w 177684"/>
                <a:gd name="connsiteY1" fmla="*/ 55130 h 224432"/>
                <a:gd name="connsiteX2" fmla="*/ 15894 w 177684"/>
                <a:gd name="connsiteY2" fmla="*/ 69209 h 224432"/>
                <a:gd name="connsiteX3" fmla="*/ -28 w 177684"/>
                <a:gd name="connsiteY3" fmla="*/ 112700 h 224432"/>
                <a:gd name="connsiteX4" fmla="*/ 18990 w 177684"/>
                <a:gd name="connsiteY4" fmla="*/ 118191 h 224432"/>
                <a:gd name="connsiteX5" fmla="*/ 45932 w 177684"/>
                <a:gd name="connsiteY5" fmla="*/ 164741 h 224432"/>
                <a:gd name="connsiteX6" fmla="*/ 87617 w 177684"/>
                <a:gd name="connsiteY6" fmla="*/ 153021 h 224432"/>
                <a:gd name="connsiteX7" fmla="*/ 99890 w 177684"/>
                <a:gd name="connsiteY7" fmla="*/ 208748 h 224432"/>
                <a:gd name="connsiteX8" fmla="*/ 107261 w 177684"/>
                <a:gd name="connsiteY8" fmla="*/ 223490 h 224432"/>
                <a:gd name="connsiteX9" fmla="*/ 142164 w 177684"/>
                <a:gd name="connsiteY9" fmla="*/ 181216 h 224432"/>
                <a:gd name="connsiteX10" fmla="*/ 177657 w 177684"/>
                <a:gd name="connsiteY10" fmla="*/ 145723 h 224432"/>
                <a:gd name="connsiteX11" fmla="*/ 151341 w 177684"/>
                <a:gd name="connsiteY11" fmla="*/ 107135 h 224432"/>
                <a:gd name="connsiteX12" fmla="*/ 142164 w 177684"/>
                <a:gd name="connsiteY12" fmla="*/ 45289 h 224432"/>
                <a:gd name="connsiteX13" fmla="*/ 75417 w 177684"/>
                <a:gd name="connsiteY13" fmla="*/ -7 h 224432"/>
                <a:gd name="connsiteX14" fmla="*/ 12246 w 177684"/>
                <a:gd name="connsiteY14" fmla="*/ 23286 h 22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7684" h="224432">
                  <a:moveTo>
                    <a:pt x="12246" y="23286"/>
                  </a:moveTo>
                  <a:cubicBezTo>
                    <a:pt x="12246" y="23286"/>
                    <a:pt x="6127" y="52771"/>
                    <a:pt x="7933" y="55130"/>
                  </a:cubicBezTo>
                  <a:cubicBezTo>
                    <a:pt x="9739" y="57489"/>
                    <a:pt x="15894" y="69209"/>
                    <a:pt x="15894" y="69209"/>
                  </a:cubicBezTo>
                  <a:lnTo>
                    <a:pt x="-28" y="112700"/>
                  </a:lnTo>
                  <a:lnTo>
                    <a:pt x="18990" y="118191"/>
                  </a:lnTo>
                  <a:lnTo>
                    <a:pt x="45932" y="164741"/>
                  </a:lnTo>
                  <a:lnTo>
                    <a:pt x="87617" y="153021"/>
                  </a:lnTo>
                  <a:lnTo>
                    <a:pt x="99890" y="208748"/>
                  </a:lnTo>
                  <a:cubicBezTo>
                    <a:pt x="99890" y="208748"/>
                    <a:pt x="98047" y="228945"/>
                    <a:pt x="107261" y="223490"/>
                  </a:cubicBezTo>
                  <a:cubicBezTo>
                    <a:pt x="116475" y="218035"/>
                    <a:pt x="124399" y="211844"/>
                    <a:pt x="142164" y="181216"/>
                  </a:cubicBezTo>
                  <a:cubicBezTo>
                    <a:pt x="159929" y="150588"/>
                    <a:pt x="177657" y="145723"/>
                    <a:pt x="177657" y="145723"/>
                  </a:cubicBezTo>
                  <a:cubicBezTo>
                    <a:pt x="177657" y="145723"/>
                    <a:pt x="155543" y="116238"/>
                    <a:pt x="151341" y="107135"/>
                  </a:cubicBezTo>
                  <a:cubicBezTo>
                    <a:pt x="147140" y="98031"/>
                    <a:pt x="149499" y="82662"/>
                    <a:pt x="142164" y="45289"/>
                  </a:cubicBezTo>
                  <a:cubicBezTo>
                    <a:pt x="134830" y="7917"/>
                    <a:pt x="109694" y="-7"/>
                    <a:pt x="75417" y="-7"/>
                  </a:cubicBezTo>
                  <a:cubicBezTo>
                    <a:pt x="41141" y="-7"/>
                    <a:pt x="15378" y="6738"/>
                    <a:pt x="12246" y="23286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5565">
              <a:extLst>
                <a:ext uri="{FF2B5EF4-FFF2-40B4-BE49-F238E27FC236}">
                  <a16:creationId xmlns:a16="http://schemas.microsoft.com/office/drawing/2014/main" id="{96DA18EC-0090-7B3E-7C3D-DA0C5E6265D8}"/>
                </a:ext>
              </a:extLst>
            </p:cNvPr>
            <p:cNvSpPr/>
            <p:nvPr/>
          </p:nvSpPr>
          <p:spPr>
            <a:xfrm>
              <a:off x="2768734" y="2145421"/>
              <a:ext cx="160986" cy="203790"/>
            </a:xfrm>
            <a:custGeom>
              <a:avLst/>
              <a:gdLst>
                <a:gd name="connsiteX0" fmla="*/ 34034 w 160986"/>
                <a:gd name="connsiteY0" fmla="*/ 17496 h 203790"/>
                <a:gd name="connsiteX1" fmla="*/ 1564 w 160986"/>
                <a:gd name="connsiteY1" fmla="*/ 29142 h 203790"/>
                <a:gd name="connsiteX2" fmla="*/ 10778 w 160986"/>
                <a:gd name="connsiteY2" fmla="*/ 55458 h 203790"/>
                <a:gd name="connsiteX3" fmla="*/ 60350 w 160986"/>
                <a:gd name="connsiteY3" fmla="*/ 52399 h 203790"/>
                <a:gd name="connsiteX4" fmla="*/ 60350 w 160986"/>
                <a:gd name="connsiteY4" fmla="*/ 66478 h 203790"/>
                <a:gd name="connsiteX5" fmla="*/ 97206 w 160986"/>
                <a:gd name="connsiteY5" fmla="*/ 77535 h 203790"/>
                <a:gd name="connsiteX6" fmla="*/ 89835 w 160986"/>
                <a:gd name="connsiteY6" fmla="*/ 133888 h 203790"/>
                <a:gd name="connsiteX7" fmla="*/ 45128 w 160986"/>
                <a:gd name="connsiteY7" fmla="*/ 133888 h 203790"/>
                <a:gd name="connsiteX8" fmla="*/ 23715 w 160986"/>
                <a:gd name="connsiteY8" fmla="*/ 147341 h 203790"/>
                <a:gd name="connsiteX9" fmla="*/ 42622 w 160986"/>
                <a:gd name="connsiteY9" fmla="*/ 200561 h 203790"/>
                <a:gd name="connsiteX10" fmla="*/ 64036 w 160986"/>
                <a:gd name="connsiteY10" fmla="*/ 200561 h 203790"/>
                <a:gd name="connsiteX11" fmla="*/ 117920 w 160986"/>
                <a:gd name="connsiteY11" fmla="*/ 164405 h 203790"/>
                <a:gd name="connsiteX12" fmla="*/ 113018 w 160986"/>
                <a:gd name="connsiteY12" fmla="*/ 124600 h 203790"/>
                <a:gd name="connsiteX13" fmla="*/ 114234 w 160986"/>
                <a:gd name="connsiteY13" fmla="*/ 88481 h 203790"/>
                <a:gd name="connsiteX14" fmla="*/ 127724 w 160986"/>
                <a:gd name="connsiteY14" fmla="*/ 86638 h 203790"/>
                <a:gd name="connsiteX15" fmla="*/ 133842 w 160986"/>
                <a:gd name="connsiteY15" fmla="*/ 113580 h 203790"/>
                <a:gd name="connsiteX16" fmla="*/ 125881 w 160986"/>
                <a:gd name="connsiteY16" fmla="*/ 125853 h 203790"/>
                <a:gd name="connsiteX17" fmla="*/ 154039 w 160986"/>
                <a:gd name="connsiteY17" fmla="*/ 143581 h 203790"/>
                <a:gd name="connsiteX18" fmla="*/ 160784 w 160986"/>
                <a:gd name="connsiteY18" fmla="*/ 138716 h 203790"/>
                <a:gd name="connsiteX19" fmla="*/ 160157 w 160986"/>
                <a:gd name="connsiteY19" fmla="*/ 84206 h 203790"/>
                <a:gd name="connsiteX20" fmla="*/ 154666 w 160986"/>
                <a:gd name="connsiteY20" fmla="*/ 18085 h 203790"/>
                <a:gd name="connsiteX21" fmla="*/ 95880 w 160986"/>
                <a:gd name="connsiteY21" fmla="*/ 910 h 203790"/>
                <a:gd name="connsiteX22" fmla="*/ 34034 w 160986"/>
                <a:gd name="connsiteY22" fmla="*/ 17496 h 20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0986" h="203790">
                  <a:moveTo>
                    <a:pt x="34034" y="17496"/>
                  </a:moveTo>
                  <a:cubicBezTo>
                    <a:pt x="34034" y="17496"/>
                    <a:pt x="6466" y="23614"/>
                    <a:pt x="1564" y="29142"/>
                  </a:cubicBezTo>
                  <a:cubicBezTo>
                    <a:pt x="-3338" y="34671"/>
                    <a:pt x="4034" y="51772"/>
                    <a:pt x="10778" y="55458"/>
                  </a:cubicBezTo>
                  <a:cubicBezTo>
                    <a:pt x="17523" y="59143"/>
                    <a:pt x="61050" y="49450"/>
                    <a:pt x="60350" y="52399"/>
                  </a:cubicBezTo>
                  <a:cubicBezTo>
                    <a:pt x="59650" y="55347"/>
                    <a:pt x="52979" y="63456"/>
                    <a:pt x="60350" y="66478"/>
                  </a:cubicBezTo>
                  <a:cubicBezTo>
                    <a:pt x="67721" y="69500"/>
                    <a:pt x="97206" y="77535"/>
                    <a:pt x="97206" y="77535"/>
                  </a:cubicBezTo>
                  <a:lnTo>
                    <a:pt x="89835" y="133888"/>
                  </a:lnTo>
                  <a:cubicBezTo>
                    <a:pt x="89835" y="133888"/>
                    <a:pt x="53716" y="132045"/>
                    <a:pt x="45128" y="133888"/>
                  </a:cubicBezTo>
                  <a:cubicBezTo>
                    <a:pt x="36541" y="135731"/>
                    <a:pt x="23715" y="147341"/>
                    <a:pt x="23715" y="147341"/>
                  </a:cubicBezTo>
                  <a:cubicBezTo>
                    <a:pt x="23715" y="147341"/>
                    <a:pt x="39526" y="195696"/>
                    <a:pt x="42622" y="200561"/>
                  </a:cubicBezTo>
                  <a:cubicBezTo>
                    <a:pt x="45718" y="205427"/>
                    <a:pt x="54232" y="204247"/>
                    <a:pt x="64036" y="200561"/>
                  </a:cubicBezTo>
                  <a:cubicBezTo>
                    <a:pt x="73839" y="196876"/>
                    <a:pt x="113644" y="168091"/>
                    <a:pt x="117920" y="164405"/>
                  </a:cubicBezTo>
                  <a:cubicBezTo>
                    <a:pt x="122195" y="160720"/>
                    <a:pt x="113018" y="124600"/>
                    <a:pt x="113018" y="124600"/>
                  </a:cubicBezTo>
                  <a:cubicBezTo>
                    <a:pt x="113018" y="124600"/>
                    <a:pt x="114234" y="94599"/>
                    <a:pt x="114234" y="88481"/>
                  </a:cubicBezTo>
                  <a:cubicBezTo>
                    <a:pt x="114234" y="82363"/>
                    <a:pt x="122195" y="82363"/>
                    <a:pt x="127724" y="86638"/>
                  </a:cubicBezTo>
                  <a:cubicBezTo>
                    <a:pt x="133252" y="90914"/>
                    <a:pt x="135095" y="107462"/>
                    <a:pt x="133842" y="113580"/>
                  </a:cubicBezTo>
                  <a:cubicBezTo>
                    <a:pt x="132305" y="118294"/>
                    <a:pt x="129559" y="122529"/>
                    <a:pt x="125881" y="125853"/>
                  </a:cubicBezTo>
                  <a:cubicBezTo>
                    <a:pt x="125881" y="125853"/>
                    <a:pt x="149137" y="143581"/>
                    <a:pt x="154039" y="143581"/>
                  </a:cubicBezTo>
                  <a:cubicBezTo>
                    <a:pt x="157186" y="143865"/>
                    <a:pt x="160061" y="141794"/>
                    <a:pt x="160784" y="138716"/>
                  </a:cubicBezTo>
                  <a:cubicBezTo>
                    <a:pt x="161410" y="136874"/>
                    <a:pt x="160157" y="84206"/>
                    <a:pt x="160157" y="84206"/>
                  </a:cubicBezTo>
                  <a:cubicBezTo>
                    <a:pt x="160157" y="84206"/>
                    <a:pt x="161410" y="34007"/>
                    <a:pt x="154666" y="18085"/>
                  </a:cubicBezTo>
                  <a:cubicBezTo>
                    <a:pt x="147921" y="2163"/>
                    <a:pt x="116077" y="-2149"/>
                    <a:pt x="95880" y="910"/>
                  </a:cubicBezTo>
                  <a:cubicBezTo>
                    <a:pt x="75682" y="3969"/>
                    <a:pt x="34034" y="17496"/>
                    <a:pt x="34034" y="17496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5566">
              <a:extLst>
                <a:ext uri="{FF2B5EF4-FFF2-40B4-BE49-F238E27FC236}">
                  <a16:creationId xmlns:a16="http://schemas.microsoft.com/office/drawing/2014/main" id="{FF85FA4A-5D13-2207-2560-5BEC0E43F044}"/>
                </a:ext>
              </a:extLst>
            </p:cNvPr>
            <p:cNvSpPr/>
            <p:nvPr/>
          </p:nvSpPr>
          <p:spPr>
            <a:xfrm>
              <a:off x="2800856" y="2240776"/>
              <a:ext cx="7011" cy="12107"/>
            </a:xfrm>
            <a:custGeom>
              <a:avLst/>
              <a:gdLst>
                <a:gd name="connsiteX0" fmla="*/ 6815 w 7011"/>
                <a:gd name="connsiteY0" fmla="*/ 5436 h 12107"/>
                <a:gd name="connsiteX1" fmla="*/ 4566 w 7011"/>
                <a:gd name="connsiteY1" fmla="*/ 12071 h 12107"/>
                <a:gd name="connsiteX2" fmla="*/ 181 w 7011"/>
                <a:gd name="connsiteY2" fmla="*/ 6616 h 12107"/>
                <a:gd name="connsiteX3" fmla="*/ 2466 w 7011"/>
                <a:gd name="connsiteY3" fmla="*/ 19 h 12107"/>
                <a:gd name="connsiteX4" fmla="*/ 6815 w 7011"/>
                <a:gd name="connsiteY4" fmla="*/ 5436 h 12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1" h="12107">
                  <a:moveTo>
                    <a:pt x="6815" y="5436"/>
                  </a:moveTo>
                  <a:cubicBezTo>
                    <a:pt x="7404" y="8790"/>
                    <a:pt x="6409" y="11739"/>
                    <a:pt x="4566" y="12071"/>
                  </a:cubicBezTo>
                  <a:cubicBezTo>
                    <a:pt x="2724" y="12402"/>
                    <a:pt x="881" y="9933"/>
                    <a:pt x="181" y="6616"/>
                  </a:cubicBezTo>
                  <a:cubicBezTo>
                    <a:pt x="-520" y="3299"/>
                    <a:pt x="623" y="313"/>
                    <a:pt x="2466" y="19"/>
                  </a:cubicBezTo>
                  <a:cubicBezTo>
                    <a:pt x="4308" y="-276"/>
                    <a:pt x="6188" y="2009"/>
                    <a:pt x="6815" y="5436"/>
                  </a:cubicBezTo>
                  <a:close/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5183">
              <a:extLst>
                <a:ext uri="{FF2B5EF4-FFF2-40B4-BE49-F238E27FC236}">
                  <a16:creationId xmlns:a16="http://schemas.microsoft.com/office/drawing/2014/main" id="{8A08128D-2D2C-5D6A-66F6-316BBDDCDC60}"/>
                </a:ext>
              </a:extLst>
            </p:cNvPr>
            <p:cNvSpPr/>
            <p:nvPr/>
          </p:nvSpPr>
          <p:spPr>
            <a:xfrm>
              <a:off x="2794209" y="2229904"/>
              <a:ext cx="17174" cy="4042"/>
            </a:xfrm>
            <a:custGeom>
              <a:avLst/>
              <a:gdLst>
                <a:gd name="connsiteX0" fmla="*/ -28 w 17174"/>
                <a:gd name="connsiteY0" fmla="*/ 4035 h 4042"/>
                <a:gd name="connsiteX1" fmla="*/ 17147 w 17174"/>
                <a:gd name="connsiteY1" fmla="*/ 2819 h 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74" h="4042">
                  <a:moveTo>
                    <a:pt x="-28" y="4035"/>
                  </a:moveTo>
                  <a:cubicBezTo>
                    <a:pt x="4476" y="-844"/>
                    <a:pt x="11999" y="-1375"/>
                    <a:pt x="17147" y="2819"/>
                  </a:cubicBezTo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5184">
              <a:extLst>
                <a:ext uri="{FF2B5EF4-FFF2-40B4-BE49-F238E27FC236}">
                  <a16:creationId xmlns:a16="http://schemas.microsoft.com/office/drawing/2014/main" id="{2A5CBD97-23B8-4532-217A-E3BFF4CE4925}"/>
                </a:ext>
              </a:extLst>
            </p:cNvPr>
            <p:cNvSpPr/>
            <p:nvPr/>
          </p:nvSpPr>
          <p:spPr>
            <a:xfrm>
              <a:off x="2811973" y="2287241"/>
              <a:ext cx="18428" cy="14079"/>
            </a:xfrm>
            <a:custGeom>
              <a:avLst/>
              <a:gdLst>
                <a:gd name="connsiteX0" fmla="*/ -28 w 18428"/>
                <a:gd name="connsiteY0" fmla="*/ 14072 h 14079"/>
                <a:gd name="connsiteX1" fmla="*/ 18400 w 18428"/>
                <a:gd name="connsiteY1" fmla="*/ -7 h 1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428" h="14079">
                  <a:moveTo>
                    <a:pt x="-28" y="14072"/>
                  </a:moveTo>
                  <a:cubicBezTo>
                    <a:pt x="-28" y="14072"/>
                    <a:pt x="14051" y="9760"/>
                    <a:pt x="18400" y="-7"/>
                  </a:cubicBezTo>
                </a:path>
              </a:pathLst>
            </a:custGeom>
            <a:noFill/>
            <a:ln w="367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5185">
              <a:extLst>
                <a:ext uri="{FF2B5EF4-FFF2-40B4-BE49-F238E27FC236}">
                  <a16:creationId xmlns:a16="http://schemas.microsoft.com/office/drawing/2014/main" id="{BDCE8C8D-9EEE-0B18-9D13-12D5CDB92509}"/>
                </a:ext>
              </a:extLst>
            </p:cNvPr>
            <p:cNvSpPr/>
            <p:nvPr/>
          </p:nvSpPr>
          <p:spPr>
            <a:xfrm>
              <a:off x="2921953" y="2575910"/>
              <a:ext cx="121481" cy="235981"/>
            </a:xfrm>
            <a:custGeom>
              <a:avLst/>
              <a:gdLst>
                <a:gd name="connsiteX0" fmla="*/ 54483 w 121481"/>
                <a:gd name="connsiteY0" fmla="*/ 2268 h 235981"/>
                <a:gd name="connsiteX1" fmla="*/ 16853 w 121481"/>
                <a:gd name="connsiteY1" fmla="*/ 163147 h 235981"/>
                <a:gd name="connsiteX2" fmla="*/ -28 w 121481"/>
                <a:gd name="connsiteY2" fmla="*/ 203173 h 235981"/>
                <a:gd name="connsiteX3" fmla="*/ 37603 w 121481"/>
                <a:gd name="connsiteY3" fmla="*/ 235975 h 235981"/>
                <a:gd name="connsiteX4" fmla="*/ 47996 w 121481"/>
                <a:gd name="connsiteY4" fmla="*/ 206490 h 235981"/>
                <a:gd name="connsiteX5" fmla="*/ 53598 w 121481"/>
                <a:gd name="connsiteY5" fmla="*/ 165653 h 235981"/>
                <a:gd name="connsiteX6" fmla="*/ 116807 w 121481"/>
                <a:gd name="connsiteY6" fmla="*/ 33596 h 235981"/>
                <a:gd name="connsiteX7" fmla="*/ 119239 w 121481"/>
                <a:gd name="connsiteY7" fmla="*/ 1605 h 235981"/>
                <a:gd name="connsiteX8" fmla="*/ 54483 w 121481"/>
                <a:gd name="connsiteY8" fmla="*/ 2268 h 235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481" h="235981">
                  <a:moveTo>
                    <a:pt x="54483" y="2268"/>
                  </a:moveTo>
                  <a:cubicBezTo>
                    <a:pt x="54483" y="2268"/>
                    <a:pt x="20059" y="155149"/>
                    <a:pt x="16853" y="163147"/>
                  </a:cubicBezTo>
                  <a:cubicBezTo>
                    <a:pt x="13646" y="171145"/>
                    <a:pt x="-28" y="203173"/>
                    <a:pt x="-28" y="203173"/>
                  </a:cubicBezTo>
                  <a:lnTo>
                    <a:pt x="37603" y="235975"/>
                  </a:lnTo>
                  <a:cubicBezTo>
                    <a:pt x="37603" y="235975"/>
                    <a:pt x="43205" y="227166"/>
                    <a:pt x="47996" y="206490"/>
                  </a:cubicBezTo>
                  <a:cubicBezTo>
                    <a:pt x="50978" y="193052"/>
                    <a:pt x="52850" y="179397"/>
                    <a:pt x="53598" y="165653"/>
                  </a:cubicBezTo>
                  <a:cubicBezTo>
                    <a:pt x="53598" y="165653"/>
                    <a:pt x="108035" y="49629"/>
                    <a:pt x="116807" y="33596"/>
                  </a:cubicBezTo>
                  <a:cubicBezTo>
                    <a:pt x="125579" y="17564"/>
                    <a:pt x="119239" y="5586"/>
                    <a:pt x="119239" y="1605"/>
                  </a:cubicBezTo>
                  <a:cubicBezTo>
                    <a:pt x="119239" y="-2375"/>
                    <a:pt x="54483" y="2268"/>
                    <a:pt x="54483" y="2268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5186">
              <a:extLst>
                <a:ext uri="{FF2B5EF4-FFF2-40B4-BE49-F238E27FC236}">
                  <a16:creationId xmlns:a16="http://schemas.microsoft.com/office/drawing/2014/main" id="{7467AD02-8BEA-9D29-C538-661EFCB68EB2}"/>
                </a:ext>
              </a:extLst>
            </p:cNvPr>
            <p:cNvSpPr/>
            <p:nvPr/>
          </p:nvSpPr>
          <p:spPr>
            <a:xfrm>
              <a:off x="2943576" y="2349381"/>
              <a:ext cx="112678" cy="239071"/>
            </a:xfrm>
            <a:custGeom>
              <a:avLst/>
              <a:gdLst>
                <a:gd name="connsiteX0" fmla="*/ 8018 w 112678"/>
                <a:gd name="connsiteY0" fmla="*/ 54319 h 239071"/>
                <a:gd name="connsiteX1" fmla="*/ 21 w 112678"/>
                <a:gd name="connsiteY1" fmla="*/ 95930 h 239071"/>
                <a:gd name="connsiteX2" fmla="*/ 19223 w 112678"/>
                <a:gd name="connsiteY2" fmla="*/ 191204 h 239071"/>
                <a:gd name="connsiteX3" fmla="*/ 12847 w 112678"/>
                <a:gd name="connsiteY3" fmla="*/ 203182 h 239071"/>
                <a:gd name="connsiteX4" fmla="*/ 20845 w 112678"/>
                <a:gd name="connsiteY4" fmla="*/ 214239 h 239071"/>
                <a:gd name="connsiteX5" fmla="*/ 20845 w 112678"/>
                <a:gd name="connsiteY5" fmla="*/ 227876 h 239071"/>
                <a:gd name="connsiteX6" fmla="*/ 58438 w 112678"/>
                <a:gd name="connsiteY6" fmla="*/ 238933 h 239071"/>
                <a:gd name="connsiteX7" fmla="*/ 106351 w 112678"/>
                <a:gd name="connsiteY7" fmla="*/ 230124 h 239071"/>
                <a:gd name="connsiteX8" fmla="*/ 111179 w 112678"/>
                <a:gd name="connsiteY8" fmla="*/ 212507 h 239071"/>
                <a:gd name="connsiteX9" fmla="*/ 107346 w 112678"/>
                <a:gd name="connsiteY9" fmla="*/ 206389 h 239071"/>
                <a:gd name="connsiteX10" fmla="*/ 110553 w 112678"/>
                <a:gd name="connsiteY10" fmla="*/ 190393 h 239071"/>
                <a:gd name="connsiteX11" fmla="*/ 104140 w 112678"/>
                <a:gd name="connsiteY11" fmla="*/ 167174 h 239071"/>
                <a:gd name="connsiteX12" fmla="*/ 93083 w 112678"/>
                <a:gd name="connsiteY12" fmla="*/ 66335 h 239071"/>
                <a:gd name="connsiteX13" fmla="*/ 30648 w 112678"/>
                <a:gd name="connsiteY13" fmla="*/ -7 h 239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678" h="239071">
                  <a:moveTo>
                    <a:pt x="8018" y="54319"/>
                  </a:moveTo>
                  <a:cubicBezTo>
                    <a:pt x="8018" y="54319"/>
                    <a:pt x="-753" y="82330"/>
                    <a:pt x="21" y="95930"/>
                  </a:cubicBezTo>
                  <a:cubicBezTo>
                    <a:pt x="795" y="109530"/>
                    <a:pt x="19223" y="191204"/>
                    <a:pt x="19223" y="191204"/>
                  </a:cubicBezTo>
                  <a:cubicBezTo>
                    <a:pt x="19223" y="191204"/>
                    <a:pt x="9640" y="200013"/>
                    <a:pt x="12847" y="203182"/>
                  </a:cubicBezTo>
                  <a:cubicBezTo>
                    <a:pt x="15825" y="206632"/>
                    <a:pt x="18500" y="210333"/>
                    <a:pt x="20845" y="214239"/>
                  </a:cubicBezTo>
                  <a:cubicBezTo>
                    <a:pt x="20845" y="214239"/>
                    <a:pt x="13473" y="219841"/>
                    <a:pt x="20845" y="227876"/>
                  </a:cubicBezTo>
                  <a:cubicBezTo>
                    <a:pt x="28216" y="235911"/>
                    <a:pt x="24825" y="239854"/>
                    <a:pt x="58438" y="238933"/>
                  </a:cubicBezTo>
                  <a:cubicBezTo>
                    <a:pt x="92051" y="238012"/>
                    <a:pt x="102481" y="236501"/>
                    <a:pt x="106351" y="230124"/>
                  </a:cubicBezTo>
                  <a:cubicBezTo>
                    <a:pt x="110221" y="223748"/>
                    <a:pt x="115160" y="219067"/>
                    <a:pt x="111179" y="212507"/>
                  </a:cubicBezTo>
                  <a:lnTo>
                    <a:pt x="107346" y="206389"/>
                  </a:lnTo>
                  <a:cubicBezTo>
                    <a:pt x="109853" y="201450"/>
                    <a:pt x="110962" y="195918"/>
                    <a:pt x="110553" y="190393"/>
                  </a:cubicBezTo>
                  <a:cubicBezTo>
                    <a:pt x="109742" y="181585"/>
                    <a:pt x="104140" y="171191"/>
                    <a:pt x="104140" y="167174"/>
                  </a:cubicBezTo>
                  <a:cubicBezTo>
                    <a:pt x="104140" y="163156"/>
                    <a:pt x="103366" y="108756"/>
                    <a:pt x="93083" y="66335"/>
                  </a:cubicBezTo>
                  <a:cubicBezTo>
                    <a:pt x="82800" y="23913"/>
                    <a:pt x="38683" y="693"/>
                    <a:pt x="30648" y="-7"/>
                  </a:cubicBezTo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5187">
              <a:extLst>
                <a:ext uri="{FF2B5EF4-FFF2-40B4-BE49-F238E27FC236}">
                  <a16:creationId xmlns:a16="http://schemas.microsoft.com/office/drawing/2014/main" id="{C903B38D-F906-82CD-B3DE-3D9BE37A9E67}"/>
                </a:ext>
              </a:extLst>
            </p:cNvPr>
            <p:cNvSpPr/>
            <p:nvPr/>
          </p:nvSpPr>
          <p:spPr>
            <a:xfrm>
              <a:off x="2477255" y="2802935"/>
              <a:ext cx="31648" cy="151111"/>
            </a:xfrm>
            <a:custGeom>
              <a:avLst/>
              <a:gdLst>
                <a:gd name="connsiteX0" fmla="*/ 2725 w 31648"/>
                <a:gd name="connsiteY0" fmla="*/ 4231 h 151111"/>
                <a:gd name="connsiteX1" fmla="*/ 4015 w 31648"/>
                <a:gd name="connsiteY1" fmla="*/ 56310 h 151111"/>
                <a:gd name="connsiteX2" fmla="*/ 846 w 31648"/>
                <a:gd name="connsiteY2" fmla="*/ 110931 h 151111"/>
                <a:gd name="connsiteX3" fmla="*/ 29115 w 31648"/>
                <a:gd name="connsiteY3" fmla="*/ 151104 h 151111"/>
                <a:gd name="connsiteX4" fmla="*/ 31621 w 31648"/>
                <a:gd name="connsiteY4" fmla="*/ -7 h 151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48" h="151111">
                  <a:moveTo>
                    <a:pt x="2725" y="4231"/>
                  </a:moveTo>
                  <a:cubicBezTo>
                    <a:pt x="2725" y="4231"/>
                    <a:pt x="4015" y="54430"/>
                    <a:pt x="4015" y="56310"/>
                  </a:cubicBezTo>
                  <a:cubicBezTo>
                    <a:pt x="4015" y="58189"/>
                    <a:pt x="-2287" y="93977"/>
                    <a:pt x="846" y="110931"/>
                  </a:cubicBezTo>
                  <a:cubicBezTo>
                    <a:pt x="3978" y="127885"/>
                    <a:pt x="29115" y="151104"/>
                    <a:pt x="29115" y="151104"/>
                  </a:cubicBezTo>
                  <a:lnTo>
                    <a:pt x="31621" y="-7"/>
                  </a:ln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5188">
              <a:extLst>
                <a:ext uri="{FF2B5EF4-FFF2-40B4-BE49-F238E27FC236}">
                  <a16:creationId xmlns:a16="http://schemas.microsoft.com/office/drawing/2014/main" id="{5B1B8E87-71EC-28D8-4C93-A9E413CDBC3D}"/>
                </a:ext>
              </a:extLst>
            </p:cNvPr>
            <p:cNvSpPr/>
            <p:nvPr/>
          </p:nvSpPr>
          <p:spPr>
            <a:xfrm>
              <a:off x="2458336" y="2459798"/>
              <a:ext cx="109400" cy="370227"/>
            </a:xfrm>
            <a:custGeom>
              <a:avLst/>
              <a:gdLst>
                <a:gd name="connsiteX0" fmla="*/ 97384 w 109400"/>
                <a:gd name="connsiteY0" fmla="*/ 1177 h 370227"/>
                <a:gd name="connsiteX1" fmla="*/ 21460 w 109400"/>
                <a:gd name="connsiteY1" fmla="*/ 100910 h 370227"/>
                <a:gd name="connsiteX2" fmla="*/ -28 w 109400"/>
                <a:gd name="connsiteY2" fmla="*/ 356399 h 370227"/>
                <a:gd name="connsiteX3" fmla="*/ 42173 w 109400"/>
                <a:gd name="connsiteY3" fmla="*/ 370220 h 370227"/>
                <a:gd name="connsiteX4" fmla="*/ 59790 w 109400"/>
                <a:gd name="connsiteY4" fmla="*/ 370220 h 370227"/>
                <a:gd name="connsiteX5" fmla="*/ 48291 w 109400"/>
                <a:gd name="connsiteY5" fmla="*/ 140826 h 370227"/>
                <a:gd name="connsiteX6" fmla="*/ 96647 w 109400"/>
                <a:gd name="connsiteY6" fmla="*/ 37259 h 370227"/>
                <a:gd name="connsiteX7" fmla="*/ 97384 w 109400"/>
                <a:gd name="connsiteY7" fmla="*/ 1177 h 37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400" h="370227">
                  <a:moveTo>
                    <a:pt x="97384" y="1177"/>
                  </a:moveTo>
                  <a:cubicBezTo>
                    <a:pt x="97384" y="1177"/>
                    <a:pt x="23671" y="90959"/>
                    <a:pt x="21460" y="100910"/>
                  </a:cubicBezTo>
                  <a:cubicBezTo>
                    <a:pt x="19248" y="110862"/>
                    <a:pt x="-28" y="354077"/>
                    <a:pt x="-28" y="356399"/>
                  </a:cubicBezTo>
                  <a:cubicBezTo>
                    <a:pt x="-28" y="358721"/>
                    <a:pt x="29900" y="370220"/>
                    <a:pt x="42173" y="370220"/>
                  </a:cubicBezTo>
                  <a:lnTo>
                    <a:pt x="59790" y="370220"/>
                  </a:lnTo>
                  <a:cubicBezTo>
                    <a:pt x="59790" y="370220"/>
                    <a:pt x="39077" y="202966"/>
                    <a:pt x="48291" y="140826"/>
                  </a:cubicBezTo>
                  <a:cubicBezTo>
                    <a:pt x="57505" y="78686"/>
                    <a:pt x="79766" y="61032"/>
                    <a:pt x="96647" y="37259"/>
                  </a:cubicBezTo>
                  <a:cubicBezTo>
                    <a:pt x="113527" y="13487"/>
                    <a:pt x="113453" y="-4941"/>
                    <a:pt x="97384" y="1177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5189">
              <a:extLst>
                <a:ext uri="{FF2B5EF4-FFF2-40B4-BE49-F238E27FC236}">
                  <a16:creationId xmlns:a16="http://schemas.microsoft.com/office/drawing/2014/main" id="{7E7ECDE1-8144-5E74-CBB9-B3AE904628F4}"/>
                </a:ext>
              </a:extLst>
            </p:cNvPr>
            <p:cNvSpPr/>
            <p:nvPr/>
          </p:nvSpPr>
          <p:spPr>
            <a:xfrm>
              <a:off x="2481103" y="3370856"/>
              <a:ext cx="150082" cy="78499"/>
            </a:xfrm>
            <a:custGeom>
              <a:avLst/>
              <a:gdLst>
                <a:gd name="connsiteX0" fmla="*/ 78487 w 150082"/>
                <a:gd name="connsiteY0" fmla="*/ 6148 h 78499"/>
                <a:gd name="connsiteX1" fmla="*/ 48560 w 150082"/>
                <a:gd name="connsiteY1" fmla="*/ 39908 h 78499"/>
                <a:gd name="connsiteX2" fmla="*/ 978 w 150082"/>
                <a:gd name="connsiteY2" fmla="*/ 64455 h 78499"/>
                <a:gd name="connsiteX3" fmla="*/ 2526 w 150082"/>
                <a:gd name="connsiteY3" fmla="*/ 78276 h 78499"/>
                <a:gd name="connsiteX4" fmla="*/ 90760 w 150082"/>
                <a:gd name="connsiteY4" fmla="*/ 77502 h 78499"/>
                <a:gd name="connsiteX5" fmla="*/ 148293 w 150082"/>
                <a:gd name="connsiteY5" fmla="*/ 75180 h 78499"/>
                <a:gd name="connsiteX6" fmla="*/ 145197 w 150082"/>
                <a:gd name="connsiteY6" fmla="*/ 11529 h 78499"/>
                <a:gd name="connsiteX7" fmla="*/ 141511 w 150082"/>
                <a:gd name="connsiteY7" fmla="*/ 1541 h 78499"/>
                <a:gd name="connsiteX8" fmla="*/ 83979 w 150082"/>
                <a:gd name="connsiteY8" fmla="*/ -7 h 78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082" h="78499">
                  <a:moveTo>
                    <a:pt x="78487" y="6148"/>
                  </a:moveTo>
                  <a:cubicBezTo>
                    <a:pt x="78487" y="6148"/>
                    <a:pt x="59285" y="33753"/>
                    <a:pt x="48560" y="39908"/>
                  </a:cubicBezTo>
                  <a:cubicBezTo>
                    <a:pt x="37834" y="46064"/>
                    <a:pt x="2526" y="60622"/>
                    <a:pt x="978" y="64455"/>
                  </a:cubicBezTo>
                  <a:cubicBezTo>
                    <a:pt x="-570" y="68288"/>
                    <a:pt x="-533" y="77502"/>
                    <a:pt x="2526" y="78276"/>
                  </a:cubicBezTo>
                  <a:cubicBezTo>
                    <a:pt x="5585" y="79050"/>
                    <a:pt x="58511" y="77502"/>
                    <a:pt x="90760" y="77502"/>
                  </a:cubicBezTo>
                  <a:cubicBezTo>
                    <a:pt x="123009" y="77502"/>
                    <a:pt x="144460" y="79013"/>
                    <a:pt x="148293" y="75180"/>
                  </a:cubicBezTo>
                  <a:cubicBezTo>
                    <a:pt x="152126" y="71347"/>
                    <a:pt x="149067" y="21480"/>
                    <a:pt x="145197" y="11529"/>
                  </a:cubicBezTo>
                  <a:lnTo>
                    <a:pt x="141511" y="1541"/>
                  </a:lnTo>
                  <a:lnTo>
                    <a:pt x="83979" y="-7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5190">
              <a:extLst>
                <a:ext uri="{FF2B5EF4-FFF2-40B4-BE49-F238E27FC236}">
                  <a16:creationId xmlns:a16="http://schemas.microsoft.com/office/drawing/2014/main" id="{DA4A9160-7875-1E5C-4E23-71496F9DBEE7}"/>
                </a:ext>
              </a:extLst>
            </p:cNvPr>
            <p:cNvSpPr/>
            <p:nvPr/>
          </p:nvSpPr>
          <p:spPr>
            <a:xfrm>
              <a:off x="2481114" y="3441436"/>
              <a:ext cx="149673" cy="7905"/>
            </a:xfrm>
            <a:custGeom>
              <a:avLst/>
              <a:gdLst>
                <a:gd name="connsiteX0" fmla="*/ 149646 w 149673"/>
                <a:gd name="connsiteY0" fmla="*/ -7 h 7905"/>
                <a:gd name="connsiteX1" fmla="*/ -28 w 149673"/>
                <a:gd name="connsiteY1" fmla="*/ -7 h 7905"/>
                <a:gd name="connsiteX2" fmla="*/ 2515 w 149673"/>
                <a:gd name="connsiteY2" fmla="*/ 7696 h 7905"/>
                <a:gd name="connsiteX3" fmla="*/ 90749 w 149673"/>
                <a:gd name="connsiteY3" fmla="*/ 6922 h 7905"/>
                <a:gd name="connsiteX4" fmla="*/ 148282 w 149673"/>
                <a:gd name="connsiteY4" fmla="*/ 4600 h 7905"/>
                <a:gd name="connsiteX5" fmla="*/ 149646 w 149673"/>
                <a:gd name="connsiteY5" fmla="*/ -7 h 7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673" h="7905">
                  <a:moveTo>
                    <a:pt x="149646" y="-7"/>
                  </a:moveTo>
                  <a:lnTo>
                    <a:pt x="-28" y="-7"/>
                  </a:lnTo>
                  <a:cubicBezTo>
                    <a:pt x="-28" y="3679"/>
                    <a:pt x="636" y="7364"/>
                    <a:pt x="2515" y="7696"/>
                  </a:cubicBezTo>
                  <a:cubicBezTo>
                    <a:pt x="5574" y="8433"/>
                    <a:pt x="58500" y="6922"/>
                    <a:pt x="90749" y="6922"/>
                  </a:cubicBezTo>
                  <a:cubicBezTo>
                    <a:pt x="122999" y="6922"/>
                    <a:pt x="144449" y="8433"/>
                    <a:pt x="148282" y="4600"/>
                  </a:cubicBezTo>
                  <a:cubicBezTo>
                    <a:pt x="149119" y="3203"/>
                    <a:pt x="149587" y="1618"/>
                    <a:pt x="149646" y="-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5191">
              <a:extLst>
                <a:ext uri="{FF2B5EF4-FFF2-40B4-BE49-F238E27FC236}">
                  <a16:creationId xmlns:a16="http://schemas.microsoft.com/office/drawing/2014/main" id="{1041EDFA-3804-1D55-4B97-8E2AC295289A}"/>
                </a:ext>
              </a:extLst>
            </p:cNvPr>
            <p:cNvSpPr/>
            <p:nvPr/>
          </p:nvSpPr>
          <p:spPr>
            <a:xfrm>
              <a:off x="2483657" y="2786903"/>
              <a:ext cx="143024" cy="602784"/>
            </a:xfrm>
            <a:custGeom>
              <a:avLst/>
              <a:gdLst>
                <a:gd name="connsiteX0" fmla="*/ 2257 w 143024"/>
                <a:gd name="connsiteY0" fmla="*/ 11640 h 602784"/>
                <a:gd name="connsiteX1" fmla="*/ 12246 w 143024"/>
                <a:gd name="connsiteY1" fmla="*/ 58447 h 602784"/>
                <a:gd name="connsiteX2" fmla="*/ 22971 w 143024"/>
                <a:gd name="connsiteY2" fmla="*/ 233368 h 602784"/>
                <a:gd name="connsiteX3" fmla="*/ 35244 w 143024"/>
                <a:gd name="connsiteY3" fmla="*/ 337708 h 602784"/>
                <a:gd name="connsiteX4" fmla="*/ 58279 w 143024"/>
                <a:gd name="connsiteY4" fmla="*/ 445108 h 602784"/>
                <a:gd name="connsiteX5" fmla="*/ 71326 w 143024"/>
                <a:gd name="connsiteY5" fmla="*/ 569388 h 602784"/>
                <a:gd name="connsiteX6" fmla="*/ 65945 w 143024"/>
                <a:gd name="connsiteY6" fmla="*/ 577054 h 602784"/>
                <a:gd name="connsiteX7" fmla="*/ 69004 w 143024"/>
                <a:gd name="connsiteY7" fmla="*/ 599168 h 602784"/>
                <a:gd name="connsiteX8" fmla="*/ 96647 w 143024"/>
                <a:gd name="connsiteY8" fmla="*/ 601453 h 602784"/>
                <a:gd name="connsiteX9" fmla="*/ 134203 w 143024"/>
                <a:gd name="connsiteY9" fmla="*/ 602227 h 602784"/>
                <a:gd name="connsiteX10" fmla="*/ 142643 w 143024"/>
                <a:gd name="connsiteY10" fmla="*/ 595335 h 602784"/>
                <a:gd name="connsiteX11" fmla="*/ 142643 w 143024"/>
                <a:gd name="connsiteY11" fmla="*/ 570788 h 602784"/>
                <a:gd name="connsiteX12" fmla="*/ 137299 w 143024"/>
                <a:gd name="connsiteY12" fmla="*/ 537028 h 602784"/>
                <a:gd name="connsiteX13" fmla="*/ 131918 w 143024"/>
                <a:gd name="connsiteY13" fmla="*/ 325288 h 602784"/>
                <a:gd name="connsiteX14" fmla="*/ 134203 w 143024"/>
                <a:gd name="connsiteY14" fmla="*/ 7659 h 602784"/>
                <a:gd name="connsiteX15" fmla="*/ -28 w 143024"/>
                <a:gd name="connsiteY15" fmla="*/ -7 h 60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3024" h="602784">
                  <a:moveTo>
                    <a:pt x="2257" y="11640"/>
                  </a:moveTo>
                  <a:lnTo>
                    <a:pt x="12246" y="58447"/>
                  </a:lnTo>
                  <a:cubicBezTo>
                    <a:pt x="12246" y="58447"/>
                    <a:pt x="10698" y="180442"/>
                    <a:pt x="22971" y="233368"/>
                  </a:cubicBezTo>
                  <a:cubicBezTo>
                    <a:pt x="30552" y="267648"/>
                    <a:pt x="34665" y="302606"/>
                    <a:pt x="35244" y="337708"/>
                  </a:cubicBezTo>
                  <a:cubicBezTo>
                    <a:pt x="35244" y="337708"/>
                    <a:pt x="52124" y="421335"/>
                    <a:pt x="58279" y="445108"/>
                  </a:cubicBezTo>
                  <a:cubicBezTo>
                    <a:pt x="64434" y="468880"/>
                    <a:pt x="71326" y="569388"/>
                    <a:pt x="71326" y="569388"/>
                  </a:cubicBezTo>
                  <a:cubicBezTo>
                    <a:pt x="71326" y="569388"/>
                    <a:pt x="65171" y="573995"/>
                    <a:pt x="65945" y="577054"/>
                  </a:cubicBezTo>
                  <a:cubicBezTo>
                    <a:pt x="66719" y="580113"/>
                    <a:pt x="69004" y="599168"/>
                    <a:pt x="69004" y="599168"/>
                  </a:cubicBezTo>
                  <a:cubicBezTo>
                    <a:pt x="69004" y="599168"/>
                    <a:pt x="72063" y="599168"/>
                    <a:pt x="96647" y="601453"/>
                  </a:cubicBezTo>
                  <a:cubicBezTo>
                    <a:pt x="109111" y="602905"/>
                    <a:pt x="121687" y="603163"/>
                    <a:pt x="134203" y="602227"/>
                  </a:cubicBezTo>
                  <a:lnTo>
                    <a:pt x="142643" y="595335"/>
                  </a:lnTo>
                  <a:cubicBezTo>
                    <a:pt x="143115" y="587160"/>
                    <a:pt x="143115" y="578963"/>
                    <a:pt x="142643" y="570788"/>
                  </a:cubicBezTo>
                  <a:cubicBezTo>
                    <a:pt x="141906" y="556967"/>
                    <a:pt x="137299" y="546205"/>
                    <a:pt x="137299" y="537028"/>
                  </a:cubicBezTo>
                  <a:cubicBezTo>
                    <a:pt x="137299" y="527850"/>
                    <a:pt x="131918" y="325288"/>
                    <a:pt x="131918" y="325288"/>
                  </a:cubicBezTo>
                  <a:lnTo>
                    <a:pt x="134203" y="7659"/>
                  </a:lnTo>
                  <a:lnTo>
                    <a:pt x="-28" y="-7"/>
                  </a:ln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5192">
              <a:extLst>
                <a:ext uri="{FF2B5EF4-FFF2-40B4-BE49-F238E27FC236}">
                  <a16:creationId xmlns:a16="http://schemas.microsoft.com/office/drawing/2014/main" id="{BAF3B00D-21A6-016E-3B04-39728700D564}"/>
                </a:ext>
              </a:extLst>
            </p:cNvPr>
            <p:cNvSpPr/>
            <p:nvPr/>
          </p:nvSpPr>
          <p:spPr>
            <a:xfrm>
              <a:off x="2562677" y="3375463"/>
              <a:ext cx="149055" cy="76821"/>
            </a:xfrm>
            <a:custGeom>
              <a:avLst/>
              <a:gdLst>
                <a:gd name="connsiteX0" fmla="*/ 72063 w 149055"/>
                <a:gd name="connsiteY0" fmla="*/ -7 h 76821"/>
                <a:gd name="connsiteX1" fmla="*/ 58279 w 149055"/>
                <a:gd name="connsiteY1" fmla="*/ 26087 h 76821"/>
                <a:gd name="connsiteX2" fmla="*/ 11472 w 149055"/>
                <a:gd name="connsiteY2" fmla="*/ 57526 h 76821"/>
                <a:gd name="connsiteX3" fmla="*/ -28 w 149055"/>
                <a:gd name="connsiteY3" fmla="*/ 76728 h 76821"/>
                <a:gd name="connsiteX4" fmla="*/ 111979 w 149055"/>
                <a:gd name="connsiteY4" fmla="*/ 74406 h 76821"/>
                <a:gd name="connsiteX5" fmla="*/ 148835 w 149055"/>
                <a:gd name="connsiteY5" fmla="*/ 72895 h 76821"/>
                <a:gd name="connsiteX6" fmla="*/ 148061 w 149055"/>
                <a:gd name="connsiteY6" fmla="*/ 51408 h 76821"/>
                <a:gd name="connsiteX7" fmla="*/ 145002 w 149055"/>
                <a:gd name="connsiteY7" fmla="*/ 10866 h 7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055" h="76821">
                  <a:moveTo>
                    <a:pt x="72063" y="-7"/>
                  </a:moveTo>
                  <a:cubicBezTo>
                    <a:pt x="68345" y="9126"/>
                    <a:pt x="63726" y="17868"/>
                    <a:pt x="58279" y="26087"/>
                  </a:cubicBezTo>
                  <a:cubicBezTo>
                    <a:pt x="51350" y="35301"/>
                    <a:pt x="22971" y="51408"/>
                    <a:pt x="11472" y="57526"/>
                  </a:cubicBezTo>
                  <a:cubicBezTo>
                    <a:pt x="4579" y="61510"/>
                    <a:pt x="230" y="68771"/>
                    <a:pt x="-28" y="76728"/>
                  </a:cubicBezTo>
                  <a:cubicBezTo>
                    <a:pt x="-28" y="76728"/>
                    <a:pt x="26030" y="77502"/>
                    <a:pt x="111979" y="74406"/>
                  </a:cubicBezTo>
                  <a:lnTo>
                    <a:pt x="148835" y="72895"/>
                  </a:lnTo>
                  <a:cubicBezTo>
                    <a:pt x="149252" y="65723"/>
                    <a:pt x="148994" y="58528"/>
                    <a:pt x="148061" y="51408"/>
                  </a:cubicBezTo>
                  <a:cubicBezTo>
                    <a:pt x="146550" y="39908"/>
                    <a:pt x="145002" y="10866"/>
                    <a:pt x="145002" y="10866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5193">
              <a:extLst>
                <a:ext uri="{FF2B5EF4-FFF2-40B4-BE49-F238E27FC236}">
                  <a16:creationId xmlns:a16="http://schemas.microsoft.com/office/drawing/2014/main" id="{86E7A688-6733-4300-815C-8D6689DA1266}"/>
                </a:ext>
              </a:extLst>
            </p:cNvPr>
            <p:cNvSpPr/>
            <p:nvPr/>
          </p:nvSpPr>
          <p:spPr>
            <a:xfrm>
              <a:off x="2562677" y="3435944"/>
              <a:ext cx="149042" cy="16259"/>
            </a:xfrm>
            <a:custGeom>
              <a:avLst/>
              <a:gdLst>
                <a:gd name="connsiteX0" fmla="*/ 111979 w 149042"/>
                <a:gd name="connsiteY0" fmla="*/ 13925 h 16259"/>
                <a:gd name="connsiteX1" fmla="*/ 148835 w 149042"/>
                <a:gd name="connsiteY1" fmla="*/ 12414 h 16259"/>
                <a:gd name="connsiteX2" fmla="*/ 148835 w 149042"/>
                <a:gd name="connsiteY2" fmla="*/ -7 h 16259"/>
                <a:gd name="connsiteX3" fmla="*/ 1999 w 149042"/>
                <a:gd name="connsiteY3" fmla="*/ 7364 h 16259"/>
                <a:gd name="connsiteX4" fmla="*/ -28 w 149042"/>
                <a:gd name="connsiteY4" fmla="*/ 16136 h 16259"/>
                <a:gd name="connsiteX5" fmla="*/ 111979 w 149042"/>
                <a:gd name="connsiteY5" fmla="*/ 13925 h 16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42" h="16259">
                  <a:moveTo>
                    <a:pt x="111979" y="13925"/>
                  </a:moveTo>
                  <a:lnTo>
                    <a:pt x="148835" y="12414"/>
                  </a:lnTo>
                  <a:cubicBezTo>
                    <a:pt x="149075" y="8278"/>
                    <a:pt x="149075" y="4128"/>
                    <a:pt x="148835" y="-7"/>
                  </a:cubicBezTo>
                  <a:lnTo>
                    <a:pt x="1999" y="7364"/>
                  </a:lnTo>
                  <a:cubicBezTo>
                    <a:pt x="787" y="10136"/>
                    <a:pt x="98" y="13110"/>
                    <a:pt x="-28" y="16136"/>
                  </a:cubicBezTo>
                  <a:cubicBezTo>
                    <a:pt x="-28" y="16136"/>
                    <a:pt x="26030" y="17021"/>
                    <a:pt x="111979" y="13925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7" name="Freeform: Shape 5194">
              <a:extLst>
                <a:ext uri="{FF2B5EF4-FFF2-40B4-BE49-F238E27FC236}">
                  <a16:creationId xmlns:a16="http://schemas.microsoft.com/office/drawing/2014/main" id="{CEC2E4C1-BB0E-AB0A-46FF-4B44AB79B976}"/>
                </a:ext>
              </a:extLst>
            </p:cNvPr>
            <p:cNvSpPr/>
            <p:nvPr/>
          </p:nvSpPr>
          <p:spPr>
            <a:xfrm>
              <a:off x="2521103" y="2782333"/>
              <a:ext cx="200786" cy="614162"/>
            </a:xfrm>
            <a:custGeom>
              <a:avLst/>
              <a:gdLst>
                <a:gd name="connsiteX0" fmla="*/ 13830 w 200786"/>
                <a:gd name="connsiteY0" fmla="*/ 70684 h 614162"/>
                <a:gd name="connsiteX1" fmla="*/ 42984 w 200786"/>
                <a:gd name="connsiteY1" fmla="*/ 99063 h 614162"/>
                <a:gd name="connsiteX2" fmla="*/ 66019 w 200786"/>
                <a:gd name="connsiteY2" fmla="*/ 274757 h 614162"/>
                <a:gd name="connsiteX3" fmla="*/ 107445 w 200786"/>
                <a:gd name="connsiteY3" fmla="*/ 521695 h 614162"/>
                <a:gd name="connsiteX4" fmla="*/ 113564 w 200786"/>
                <a:gd name="connsiteY4" fmla="*/ 570825 h 614162"/>
                <a:gd name="connsiteX5" fmla="*/ 110505 w 200786"/>
                <a:gd name="connsiteY5" fmla="*/ 576943 h 614162"/>
                <a:gd name="connsiteX6" fmla="*/ 109657 w 200786"/>
                <a:gd name="connsiteY6" fmla="*/ 603001 h 614162"/>
                <a:gd name="connsiteX7" fmla="*/ 145739 w 200786"/>
                <a:gd name="connsiteY7" fmla="*/ 613726 h 614162"/>
                <a:gd name="connsiteX8" fmla="*/ 188677 w 200786"/>
                <a:gd name="connsiteY8" fmla="*/ 612989 h 614162"/>
                <a:gd name="connsiteX9" fmla="*/ 191773 w 200786"/>
                <a:gd name="connsiteY9" fmla="*/ 589179 h 614162"/>
                <a:gd name="connsiteX10" fmla="*/ 190999 w 200786"/>
                <a:gd name="connsiteY10" fmla="*/ 545468 h 614162"/>
                <a:gd name="connsiteX11" fmla="*/ 200213 w 200786"/>
                <a:gd name="connsiteY11" fmla="*/ 420414 h 614162"/>
                <a:gd name="connsiteX12" fmla="*/ 178726 w 200786"/>
                <a:gd name="connsiteY12" fmla="*/ 267755 h 614162"/>
                <a:gd name="connsiteX13" fmla="*/ 184844 w 200786"/>
                <a:gd name="connsiteY13" fmla="*/ 132713 h 614162"/>
                <a:gd name="connsiteX14" fmla="*/ 192510 w 200786"/>
                <a:gd name="connsiteY14" fmla="*/ 57526 h 614162"/>
                <a:gd name="connsiteX15" fmla="*/ 179500 w 200786"/>
                <a:gd name="connsiteY15" fmla="*/ -7 h 614162"/>
                <a:gd name="connsiteX16" fmla="*/ -28 w 200786"/>
                <a:gd name="connsiteY16" fmla="*/ 767 h 614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786" h="614162">
                  <a:moveTo>
                    <a:pt x="13830" y="70684"/>
                  </a:moveTo>
                  <a:lnTo>
                    <a:pt x="42984" y="99063"/>
                  </a:lnTo>
                  <a:cubicBezTo>
                    <a:pt x="42984" y="99063"/>
                    <a:pt x="54520" y="209632"/>
                    <a:pt x="66019" y="274757"/>
                  </a:cubicBezTo>
                  <a:cubicBezTo>
                    <a:pt x="77518" y="339883"/>
                    <a:pt x="107445" y="507985"/>
                    <a:pt x="107445" y="521695"/>
                  </a:cubicBezTo>
                  <a:cubicBezTo>
                    <a:pt x="107445" y="535406"/>
                    <a:pt x="113564" y="570825"/>
                    <a:pt x="113564" y="570825"/>
                  </a:cubicBezTo>
                  <a:cubicBezTo>
                    <a:pt x="113564" y="570825"/>
                    <a:pt x="111279" y="571562"/>
                    <a:pt x="110505" y="576943"/>
                  </a:cubicBezTo>
                  <a:cubicBezTo>
                    <a:pt x="109731" y="582324"/>
                    <a:pt x="109657" y="603001"/>
                    <a:pt x="109657" y="603001"/>
                  </a:cubicBezTo>
                  <a:cubicBezTo>
                    <a:pt x="121079" y="608363"/>
                    <a:pt x="133241" y="611979"/>
                    <a:pt x="145739" y="613726"/>
                  </a:cubicBezTo>
                  <a:cubicBezTo>
                    <a:pt x="160051" y="614485"/>
                    <a:pt x="174399" y="614238"/>
                    <a:pt x="188677" y="612989"/>
                  </a:cubicBezTo>
                  <a:cubicBezTo>
                    <a:pt x="190118" y="605109"/>
                    <a:pt x="191150" y="597162"/>
                    <a:pt x="191773" y="589179"/>
                  </a:cubicBezTo>
                  <a:cubicBezTo>
                    <a:pt x="191773" y="583061"/>
                    <a:pt x="189451" y="556193"/>
                    <a:pt x="190999" y="545468"/>
                  </a:cubicBezTo>
                  <a:cubicBezTo>
                    <a:pt x="192547" y="534743"/>
                    <a:pt x="203272" y="480232"/>
                    <a:pt x="200213" y="420414"/>
                  </a:cubicBezTo>
                  <a:cubicBezTo>
                    <a:pt x="197154" y="360596"/>
                    <a:pt x="178726" y="267755"/>
                    <a:pt x="178726" y="267755"/>
                  </a:cubicBezTo>
                  <a:lnTo>
                    <a:pt x="184844" y="132713"/>
                  </a:lnTo>
                  <a:cubicBezTo>
                    <a:pt x="192138" y="108362"/>
                    <a:pt x="194740" y="82846"/>
                    <a:pt x="192510" y="57526"/>
                  </a:cubicBezTo>
                  <a:cubicBezTo>
                    <a:pt x="188824" y="16099"/>
                    <a:pt x="179500" y="-7"/>
                    <a:pt x="179500" y="-7"/>
                  </a:cubicBezTo>
                  <a:lnTo>
                    <a:pt x="-28" y="767"/>
                  </a:lnTo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8" name="Freeform: Shape 5195">
              <a:extLst>
                <a:ext uri="{FF2B5EF4-FFF2-40B4-BE49-F238E27FC236}">
                  <a16:creationId xmlns:a16="http://schemas.microsoft.com/office/drawing/2014/main" id="{E8C2C054-DAD3-FCE6-80E1-A9DE06D49684}"/>
                </a:ext>
              </a:extLst>
            </p:cNvPr>
            <p:cNvSpPr/>
            <p:nvPr/>
          </p:nvSpPr>
          <p:spPr>
            <a:xfrm>
              <a:off x="2473521" y="2450310"/>
              <a:ext cx="174975" cy="369859"/>
            </a:xfrm>
            <a:custGeom>
              <a:avLst/>
              <a:gdLst>
                <a:gd name="connsiteX0" fmla="*/ 82199 w 174975"/>
                <a:gd name="connsiteY0" fmla="*/ 10665 h 369859"/>
                <a:gd name="connsiteX1" fmla="*/ 14715 w 174975"/>
                <a:gd name="connsiteY1" fmla="*/ 120497 h 369859"/>
                <a:gd name="connsiteX2" fmla="*/ -28 w 174975"/>
                <a:gd name="connsiteY2" fmla="*/ 352950 h 369859"/>
                <a:gd name="connsiteX3" fmla="*/ 26841 w 174975"/>
                <a:gd name="connsiteY3" fmla="*/ 365997 h 369859"/>
                <a:gd name="connsiteX4" fmla="*/ 89754 w 174975"/>
                <a:gd name="connsiteY4" fmla="*/ 369683 h 369859"/>
                <a:gd name="connsiteX5" fmla="*/ 145039 w 174975"/>
                <a:gd name="connsiteY5" fmla="*/ 355862 h 369859"/>
                <a:gd name="connsiteX6" fmla="*/ 154253 w 174975"/>
                <a:gd name="connsiteY6" fmla="*/ 141063 h 369859"/>
                <a:gd name="connsiteX7" fmla="*/ 172681 w 174975"/>
                <a:gd name="connsiteY7" fmla="*/ 12065 h 369859"/>
                <a:gd name="connsiteX8" fmla="*/ 82199 w 174975"/>
                <a:gd name="connsiteY8" fmla="*/ 10665 h 36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975" h="369859">
                  <a:moveTo>
                    <a:pt x="82199" y="10665"/>
                  </a:moveTo>
                  <a:cubicBezTo>
                    <a:pt x="82199" y="10665"/>
                    <a:pt x="20870" y="86626"/>
                    <a:pt x="14715" y="120497"/>
                  </a:cubicBezTo>
                  <a:cubicBezTo>
                    <a:pt x="8560" y="154368"/>
                    <a:pt x="-28" y="345321"/>
                    <a:pt x="-28" y="352950"/>
                  </a:cubicBezTo>
                  <a:cubicBezTo>
                    <a:pt x="-28" y="360580"/>
                    <a:pt x="12246" y="363675"/>
                    <a:pt x="26841" y="365997"/>
                  </a:cubicBezTo>
                  <a:cubicBezTo>
                    <a:pt x="47661" y="369104"/>
                    <a:pt x="68717" y="370335"/>
                    <a:pt x="89754" y="369683"/>
                  </a:cubicBezTo>
                  <a:cubicBezTo>
                    <a:pt x="115038" y="368909"/>
                    <a:pt x="141132" y="360469"/>
                    <a:pt x="145039" y="355862"/>
                  </a:cubicBezTo>
                  <a:cubicBezTo>
                    <a:pt x="148946" y="351255"/>
                    <a:pt x="141353" y="215476"/>
                    <a:pt x="154253" y="141063"/>
                  </a:cubicBezTo>
                  <a:cubicBezTo>
                    <a:pt x="167153" y="66650"/>
                    <a:pt x="180347" y="26808"/>
                    <a:pt x="172681" y="12065"/>
                  </a:cubicBezTo>
                  <a:cubicBezTo>
                    <a:pt x="165015" y="-2677"/>
                    <a:pt x="108293" y="-4815"/>
                    <a:pt x="82199" y="10665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9" name="Freeform: Shape 5196">
              <a:extLst>
                <a:ext uri="{FF2B5EF4-FFF2-40B4-BE49-F238E27FC236}">
                  <a16:creationId xmlns:a16="http://schemas.microsoft.com/office/drawing/2014/main" id="{3B1EBC3D-FF6C-C8F2-7F9F-32EBEB48F18C}"/>
                </a:ext>
              </a:extLst>
            </p:cNvPr>
            <p:cNvSpPr/>
            <p:nvPr/>
          </p:nvSpPr>
          <p:spPr>
            <a:xfrm>
              <a:off x="2559018" y="2454068"/>
              <a:ext cx="161680" cy="393628"/>
            </a:xfrm>
            <a:custGeom>
              <a:avLst/>
              <a:gdLst>
                <a:gd name="connsiteX0" fmla="*/ 58842 w 161680"/>
                <a:gd name="connsiteY0" fmla="*/ 3073 h 393628"/>
                <a:gd name="connsiteX1" fmla="*/ 4405 w 161680"/>
                <a:gd name="connsiteY1" fmla="*/ 140400 h 393628"/>
                <a:gd name="connsiteX2" fmla="*/ 2083 w 161680"/>
                <a:gd name="connsiteY2" fmla="*/ 386675 h 393628"/>
                <a:gd name="connsiteX3" fmla="*/ 37392 w 161680"/>
                <a:gd name="connsiteY3" fmla="*/ 393567 h 393628"/>
                <a:gd name="connsiteX4" fmla="*/ 133218 w 161680"/>
                <a:gd name="connsiteY4" fmla="*/ 376687 h 393628"/>
                <a:gd name="connsiteX5" fmla="*/ 161598 w 161680"/>
                <a:gd name="connsiteY5" fmla="*/ 360580 h 393628"/>
                <a:gd name="connsiteX6" fmla="*/ 154669 w 161680"/>
                <a:gd name="connsiteY6" fmla="*/ 331427 h 393628"/>
                <a:gd name="connsiteX7" fmla="*/ 149325 w 161680"/>
                <a:gd name="connsiteY7" fmla="*/ 272457 h 393628"/>
                <a:gd name="connsiteX8" fmla="*/ 136278 w 161680"/>
                <a:gd name="connsiteY8" fmla="*/ 33111 h 393628"/>
                <a:gd name="connsiteX9" fmla="*/ 58842 w 161680"/>
                <a:gd name="connsiteY9" fmla="*/ 3073 h 39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680" h="393628">
                  <a:moveTo>
                    <a:pt x="58842" y="3073"/>
                  </a:moveTo>
                  <a:cubicBezTo>
                    <a:pt x="58842" y="3073"/>
                    <a:pt x="12772" y="83568"/>
                    <a:pt x="4405" y="140400"/>
                  </a:cubicBezTo>
                  <a:cubicBezTo>
                    <a:pt x="-3961" y="197233"/>
                    <a:pt x="2083" y="386675"/>
                    <a:pt x="2083" y="386675"/>
                  </a:cubicBezTo>
                  <a:cubicBezTo>
                    <a:pt x="2083" y="386675"/>
                    <a:pt x="2083" y="394341"/>
                    <a:pt x="37392" y="393567"/>
                  </a:cubicBezTo>
                  <a:cubicBezTo>
                    <a:pt x="72700" y="392793"/>
                    <a:pt x="120245" y="383616"/>
                    <a:pt x="133218" y="376687"/>
                  </a:cubicBezTo>
                  <a:cubicBezTo>
                    <a:pt x="146192" y="369758"/>
                    <a:pt x="160824" y="364414"/>
                    <a:pt x="161598" y="360580"/>
                  </a:cubicBezTo>
                  <a:cubicBezTo>
                    <a:pt x="162372" y="356747"/>
                    <a:pt x="154669" y="342963"/>
                    <a:pt x="154669" y="331427"/>
                  </a:cubicBezTo>
                  <a:cubicBezTo>
                    <a:pt x="154669" y="319891"/>
                    <a:pt x="149325" y="272457"/>
                    <a:pt x="149325" y="272457"/>
                  </a:cubicBezTo>
                  <a:cubicBezTo>
                    <a:pt x="149325" y="272457"/>
                    <a:pt x="147777" y="63039"/>
                    <a:pt x="136278" y="33111"/>
                  </a:cubicBezTo>
                  <a:cubicBezTo>
                    <a:pt x="124778" y="3184"/>
                    <a:pt x="79556" y="-5367"/>
                    <a:pt x="58842" y="3073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0" name="Freeform: Shape 5197">
              <a:extLst>
                <a:ext uri="{FF2B5EF4-FFF2-40B4-BE49-F238E27FC236}">
                  <a16:creationId xmlns:a16="http://schemas.microsoft.com/office/drawing/2014/main" id="{80542CAE-2868-209E-F373-68C21CF4B881}"/>
                </a:ext>
              </a:extLst>
            </p:cNvPr>
            <p:cNvSpPr/>
            <p:nvPr/>
          </p:nvSpPr>
          <p:spPr>
            <a:xfrm>
              <a:off x="2489269" y="2294017"/>
              <a:ext cx="126333" cy="243998"/>
            </a:xfrm>
            <a:custGeom>
              <a:avLst/>
              <a:gdLst>
                <a:gd name="connsiteX0" fmla="*/ 16584 w 126333"/>
                <a:gd name="connsiteY0" fmla="*/ 19679 h 243998"/>
                <a:gd name="connsiteX1" fmla="*/ 12898 w 126333"/>
                <a:gd name="connsiteY1" fmla="*/ 51892 h 243998"/>
                <a:gd name="connsiteX2" fmla="*/ 15220 w 126333"/>
                <a:gd name="connsiteY2" fmla="*/ 71057 h 243998"/>
                <a:gd name="connsiteX3" fmla="*/ 478 w 126333"/>
                <a:gd name="connsiteY3" fmla="*/ 97926 h 243998"/>
                <a:gd name="connsiteX4" fmla="*/ 13525 w 126333"/>
                <a:gd name="connsiteY4" fmla="*/ 107914 h 243998"/>
                <a:gd name="connsiteX5" fmla="*/ 24287 w 126333"/>
                <a:gd name="connsiteY5" fmla="*/ 150851 h 243998"/>
                <a:gd name="connsiteX6" fmla="*/ 56499 w 126333"/>
                <a:gd name="connsiteY6" fmla="*/ 148566 h 243998"/>
                <a:gd name="connsiteX7" fmla="*/ 64940 w 126333"/>
                <a:gd name="connsiteY7" fmla="*/ 185423 h 243998"/>
                <a:gd name="connsiteX8" fmla="*/ 53440 w 126333"/>
                <a:gd name="connsiteY8" fmla="*/ 243730 h 243998"/>
                <a:gd name="connsiteX9" fmla="*/ 126305 w 126333"/>
                <a:gd name="connsiteY9" fmla="*/ 154721 h 243998"/>
                <a:gd name="connsiteX10" fmla="*/ 108651 w 126333"/>
                <a:gd name="connsiteY10" fmla="*/ 18942 h 243998"/>
                <a:gd name="connsiteX11" fmla="*/ 16584 w 126333"/>
                <a:gd name="connsiteY11" fmla="*/ 19679 h 24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6333" h="243998">
                  <a:moveTo>
                    <a:pt x="16584" y="19679"/>
                  </a:moveTo>
                  <a:cubicBezTo>
                    <a:pt x="16584" y="19679"/>
                    <a:pt x="10466" y="44226"/>
                    <a:pt x="12898" y="51892"/>
                  </a:cubicBezTo>
                  <a:cubicBezTo>
                    <a:pt x="14966" y="58058"/>
                    <a:pt x="15755" y="64578"/>
                    <a:pt x="15220" y="71057"/>
                  </a:cubicBezTo>
                  <a:cubicBezTo>
                    <a:pt x="14446" y="74153"/>
                    <a:pt x="-3208" y="94092"/>
                    <a:pt x="478" y="97926"/>
                  </a:cubicBezTo>
                  <a:cubicBezTo>
                    <a:pt x="4591" y="101552"/>
                    <a:pt x="8951" y="104891"/>
                    <a:pt x="13525" y="107914"/>
                  </a:cubicBezTo>
                  <a:cubicBezTo>
                    <a:pt x="13525" y="107914"/>
                    <a:pt x="17211" y="148456"/>
                    <a:pt x="24287" y="150851"/>
                  </a:cubicBezTo>
                  <a:cubicBezTo>
                    <a:pt x="31363" y="153247"/>
                    <a:pt x="56499" y="148566"/>
                    <a:pt x="56499" y="148566"/>
                  </a:cubicBezTo>
                  <a:cubicBezTo>
                    <a:pt x="56499" y="148566"/>
                    <a:pt x="64940" y="180005"/>
                    <a:pt x="64940" y="185423"/>
                  </a:cubicBezTo>
                  <a:cubicBezTo>
                    <a:pt x="64940" y="190841"/>
                    <a:pt x="38845" y="248337"/>
                    <a:pt x="53440" y="243730"/>
                  </a:cubicBezTo>
                  <a:cubicBezTo>
                    <a:pt x="68036" y="239122"/>
                    <a:pt x="126305" y="154721"/>
                    <a:pt x="126305" y="154721"/>
                  </a:cubicBezTo>
                  <a:cubicBezTo>
                    <a:pt x="126305" y="154721"/>
                    <a:pt x="125531" y="46548"/>
                    <a:pt x="108651" y="18942"/>
                  </a:cubicBezTo>
                  <a:cubicBezTo>
                    <a:pt x="91771" y="-8663"/>
                    <a:pt x="41167" y="-4093"/>
                    <a:pt x="16584" y="19679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1" name="Freeform: Shape 5198">
              <a:extLst>
                <a:ext uri="{FF2B5EF4-FFF2-40B4-BE49-F238E27FC236}">
                  <a16:creationId xmlns:a16="http://schemas.microsoft.com/office/drawing/2014/main" id="{A5712A78-94F9-003F-57B1-A4416768EBDC}"/>
                </a:ext>
              </a:extLst>
            </p:cNvPr>
            <p:cNvSpPr/>
            <p:nvPr/>
          </p:nvSpPr>
          <p:spPr>
            <a:xfrm>
              <a:off x="2516643" y="2357342"/>
              <a:ext cx="6892" cy="14742"/>
            </a:xfrm>
            <a:custGeom>
              <a:avLst/>
              <a:gdLst>
                <a:gd name="connsiteX0" fmla="*/ 6864 w 6892"/>
                <a:gd name="connsiteY0" fmla="*/ 7364 h 14742"/>
                <a:gd name="connsiteX1" fmla="*/ 3437 w 6892"/>
                <a:gd name="connsiteY1" fmla="*/ 14736 h 14742"/>
                <a:gd name="connsiteX2" fmla="*/ -28 w 6892"/>
                <a:gd name="connsiteY2" fmla="*/ 7364 h 14742"/>
                <a:gd name="connsiteX3" fmla="*/ 3437 w 6892"/>
                <a:gd name="connsiteY3" fmla="*/ -7 h 14742"/>
                <a:gd name="connsiteX4" fmla="*/ 6864 w 6892"/>
                <a:gd name="connsiteY4" fmla="*/ 7364 h 14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92" h="14742">
                  <a:moveTo>
                    <a:pt x="6864" y="7364"/>
                  </a:moveTo>
                  <a:cubicBezTo>
                    <a:pt x="6864" y="11382"/>
                    <a:pt x="5317" y="14736"/>
                    <a:pt x="3437" y="14736"/>
                  </a:cubicBezTo>
                  <a:cubicBezTo>
                    <a:pt x="1557" y="14736"/>
                    <a:pt x="-28" y="11455"/>
                    <a:pt x="-28" y="7364"/>
                  </a:cubicBezTo>
                  <a:cubicBezTo>
                    <a:pt x="-28" y="3273"/>
                    <a:pt x="1520" y="-7"/>
                    <a:pt x="3437" y="-7"/>
                  </a:cubicBezTo>
                  <a:cubicBezTo>
                    <a:pt x="5353" y="-7"/>
                    <a:pt x="6864" y="3384"/>
                    <a:pt x="6864" y="7364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2" name="Freeform: Shape 5199">
              <a:extLst>
                <a:ext uri="{FF2B5EF4-FFF2-40B4-BE49-F238E27FC236}">
                  <a16:creationId xmlns:a16="http://schemas.microsoft.com/office/drawing/2014/main" id="{6C838107-061F-F6E6-BDD0-F52E68FF353F}"/>
                </a:ext>
              </a:extLst>
            </p:cNvPr>
            <p:cNvSpPr/>
            <p:nvPr/>
          </p:nvSpPr>
          <p:spPr>
            <a:xfrm>
              <a:off x="2512036" y="2346269"/>
              <a:ext cx="16106" cy="5027"/>
            </a:xfrm>
            <a:custGeom>
              <a:avLst/>
              <a:gdLst>
                <a:gd name="connsiteX0" fmla="*/ -28 w 16106"/>
                <a:gd name="connsiteY0" fmla="*/ 2699 h 5027"/>
                <a:gd name="connsiteX1" fmla="*/ 14962 w 16106"/>
                <a:gd name="connsiteY1" fmla="*/ 3528 h 5027"/>
                <a:gd name="connsiteX2" fmla="*/ 16079 w 16106"/>
                <a:gd name="connsiteY2" fmla="*/ 5021 h 5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06" h="5027">
                  <a:moveTo>
                    <a:pt x="-28" y="2699"/>
                  </a:moveTo>
                  <a:cubicBezTo>
                    <a:pt x="4340" y="-1212"/>
                    <a:pt x="11051" y="-839"/>
                    <a:pt x="14962" y="3528"/>
                  </a:cubicBezTo>
                  <a:cubicBezTo>
                    <a:pt x="15378" y="3993"/>
                    <a:pt x="15751" y="4490"/>
                    <a:pt x="16079" y="5021"/>
                  </a:cubicBezTo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3" name="Freeform: Shape 5200">
              <a:extLst>
                <a:ext uri="{FF2B5EF4-FFF2-40B4-BE49-F238E27FC236}">
                  <a16:creationId xmlns:a16="http://schemas.microsoft.com/office/drawing/2014/main" id="{4058BDBF-B309-82D2-7D59-A68F7CA56D59}"/>
                </a:ext>
              </a:extLst>
            </p:cNvPr>
            <p:cNvSpPr/>
            <p:nvPr/>
          </p:nvSpPr>
          <p:spPr>
            <a:xfrm>
              <a:off x="2513584" y="2400390"/>
              <a:ext cx="22113" cy="7666"/>
            </a:xfrm>
            <a:custGeom>
              <a:avLst/>
              <a:gdLst>
                <a:gd name="connsiteX0" fmla="*/ -28 w 22113"/>
                <a:gd name="connsiteY0" fmla="*/ 7659 h 7666"/>
                <a:gd name="connsiteX1" fmla="*/ 22086 w 22113"/>
                <a:gd name="connsiteY1" fmla="*/ -7 h 7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13" h="7666">
                  <a:moveTo>
                    <a:pt x="-28" y="7659"/>
                  </a:moveTo>
                  <a:cubicBezTo>
                    <a:pt x="7874" y="7014"/>
                    <a:pt x="15481" y="4375"/>
                    <a:pt x="22086" y="-7"/>
                  </a:cubicBezTo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4" name="Freeform: Shape 5201">
              <a:extLst>
                <a:ext uri="{FF2B5EF4-FFF2-40B4-BE49-F238E27FC236}">
                  <a16:creationId xmlns:a16="http://schemas.microsoft.com/office/drawing/2014/main" id="{6AEAAE8D-FD4A-EB3E-9092-6EFF76DF1DF5}"/>
                </a:ext>
              </a:extLst>
            </p:cNvPr>
            <p:cNvSpPr/>
            <p:nvPr/>
          </p:nvSpPr>
          <p:spPr>
            <a:xfrm>
              <a:off x="2485168" y="2251723"/>
              <a:ext cx="212560" cy="217880"/>
            </a:xfrm>
            <a:custGeom>
              <a:avLst/>
              <a:gdLst>
                <a:gd name="connsiteX0" fmla="*/ 48328 w 212560"/>
                <a:gd name="connsiteY0" fmla="*/ 5804 h 217880"/>
                <a:gd name="connsiteX1" fmla="*/ 6901 w 212560"/>
                <a:gd name="connsiteY1" fmla="*/ 34183 h 217880"/>
                <a:gd name="connsiteX2" fmla="*/ -28 w 212560"/>
                <a:gd name="connsiteY2" fmla="*/ 64111 h 217880"/>
                <a:gd name="connsiteX3" fmla="*/ 33733 w 212560"/>
                <a:gd name="connsiteY3" fmla="*/ 71040 h 217880"/>
                <a:gd name="connsiteX4" fmla="*/ 62886 w 212560"/>
                <a:gd name="connsiteY4" fmla="*/ 73325 h 217880"/>
                <a:gd name="connsiteX5" fmla="*/ 70552 w 212560"/>
                <a:gd name="connsiteY5" fmla="*/ 96323 h 217880"/>
                <a:gd name="connsiteX6" fmla="*/ 82825 w 212560"/>
                <a:gd name="connsiteY6" fmla="*/ 122418 h 217880"/>
                <a:gd name="connsiteX7" fmla="*/ 78255 w 212560"/>
                <a:gd name="connsiteY7" fmla="*/ 180724 h 217880"/>
                <a:gd name="connsiteX8" fmla="*/ 70552 w 212560"/>
                <a:gd name="connsiteY8" fmla="*/ 209104 h 217880"/>
                <a:gd name="connsiteX9" fmla="*/ 125026 w 212560"/>
                <a:gd name="connsiteY9" fmla="*/ 216807 h 217880"/>
                <a:gd name="connsiteX10" fmla="*/ 204046 w 212560"/>
                <a:gd name="connsiteY10" fmla="*/ 212200 h 217880"/>
                <a:gd name="connsiteX11" fmla="*/ 212486 w 212560"/>
                <a:gd name="connsiteY11" fmla="*/ 166166 h 217880"/>
                <a:gd name="connsiteX12" fmla="*/ 195606 w 212560"/>
                <a:gd name="connsiteY12" fmla="*/ 74025 h 217880"/>
                <a:gd name="connsiteX13" fmla="*/ 171060 w 212560"/>
                <a:gd name="connsiteY13" fmla="*/ 22610 h 217880"/>
                <a:gd name="connsiteX14" fmla="*/ 48328 w 212560"/>
                <a:gd name="connsiteY14" fmla="*/ 5804 h 21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560" h="217880">
                  <a:moveTo>
                    <a:pt x="48328" y="5804"/>
                  </a:moveTo>
                  <a:cubicBezTo>
                    <a:pt x="48328" y="5804"/>
                    <a:pt x="10734" y="20546"/>
                    <a:pt x="6901" y="34183"/>
                  </a:cubicBezTo>
                  <a:cubicBezTo>
                    <a:pt x="3068" y="47820"/>
                    <a:pt x="-28" y="64111"/>
                    <a:pt x="-28" y="64111"/>
                  </a:cubicBezTo>
                  <a:lnTo>
                    <a:pt x="33733" y="71040"/>
                  </a:lnTo>
                  <a:lnTo>
                    <a:pt x="62886" y="73325"/>
                  </a:lnTo>
                  <a:cubicBezTo>
                    <a:pt x="62886" y="73325"/>
                    <a:pt x="62112" y="80217"/>
                    <a:pt x="70552" y="96323"/>
                  </a:cubicBezTo>
                  <a:cubicBezTo>
                    <a:pt x="75089" y="104804"/>
                    <a:pt x="79184" y="113517"/>
                    <a:pt x="82825" y="122418"/>
                  </a:cubicBezTo>
                  <a:cubicBezTo>
                    <a:pt x="82825" y="122418"/>
                    <a:pt x="80540" y="167677"/>
                    <a:pt x="78255" y="180724"/>
                  </a:cubicBezTo>
                  <a:cubicBezTo>
                    <a:pt x="76331" y="190348"/>
                    <a:pt x="73759" y="199827"/>
                    <a:pt x="70552" y="209104"/>
                  </a:cubicBezTo>
                  <a:cubicBezTo>
                    <a:pt x="70552" y="209104"/>
                    <a:pt x="89754" y="212789"/>
                    <a:pt x="125026" y="216807"/>
                  </a:cubicBezTo>
                  <a:cubicBezTo>
                    <a:pt x="160298" y="220824"/>
                    <a:pt x="204046" y="212200"/>
                    <a:pt x="204046" y="212200"/>
                  </a:cubicBezTo>
                  <a:cubicBezTo>
                    <a:pt x="204046" y="212200"/>
                    <a:pt x="213260" y="196831"/>
                    <a:pt x="212486" y="166166"/>
                  </a:cubicBezTo>
                  <a:cubicBezTo>
                    <a:pt x="211712" y="135502"/>
                    <a:pt x="197154" y="91753"/>
                    <a:pt x="195606" y="74025"/>
                  </a:cubicBezTo>
                  <a:cubicBezTo>
                    <a:pt x="194058" y="56297"/>
                    <a:pt x="198702" y="44098"/>
                    <a:pt x="171060" y="22610"/>
                  </a:cubicBezTo>
                  <a:cubicBezTo>
                    <a:pt x="143417" y="1123"/>
                    <a:pt x="94362" y="-6322"/>
                    <a:pt x="48328" y="5804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5" name="Freeform: Shape 5202">
              <a:extLst>
                <a:ext uri="{FF2B5EF4-FFF2-40B4-BE49-F238E27FC236}">
                  <a16:creationId xmlns:a16="http://schemas.microsoft.com/office/drawing/2014/main" id="{694875A5-8036-95F9-A877-3538D0CB7B15}"/>
                </a:ext>
              </a:extLst>
            </p:cNvPr>
            <p:cNvSpPr/>
            <p:nvPr/>
          </p:nvSpPr>
          <p:spPr>
            <a:xfrm>
              <a:off x="2458594" y="2649395"/>
              <a:ext cx="30172" cy="63722"/>
            </a:xfrm>
            <a:custGeom>
              <a:avLst/>
              <a:gdLst>
                <a:gd name="connsiteX0" fmla="*/ 6938 w 30172"/>
                <a:gd name="connsiteY0" fmla="*/ 63715 h 63722"/>
                <a:gd name="connsiteX1" fmla="*/ 1152 w 30172"/>
                <a:gd name="connsiteY1" fmla="*/ 63309 h 63722"/>
                <a:gd name="connsiteX2" fmla="*/ 2884 w 30172"/>
                <a:gd name="connsiteY2" fmla="*/ 52252 h 63722"/>
                <a:gd name="connsiteX3" fmla="*/ 17442 w 30172"/>
                <a:gd name="connsiteY3" fmla="*/ 49156 h 63722"/>
                <a:gd name="connsiteX4" fmla="*/ 14678 w 30172"/>
                <a:gd name="connsiteY4" fmla="*/ 12300 h 63722"/>
                <a:gd name="connsiteX5" fmla="*/ 2515 w 30172"/>
                <a:gd name="connsiteY5" fmla="*/ 11821 h 63722"/>
                <a:gd name="connsiteX6" fmla="*/ -28 w 30172"/>
                <a:gd name="connsiteY6" fmla="*/ 1022 h 63722"/>
                <a:gd name="connsiteX7" fmla="*/ 23081 w 30172"/>
                <a:gd name="connsiteY7" fmla="*/ 5113 h 63722"/>
                <a:gd name="connsiteX8" fmla="*/ 26472 w 30172"/>
                <a:gd name="connsiteY8" fmla="*/ 55606 h 63722"/>
                <a:gd name="connsiteX9" fmla="*/ 6938 w 30172"/>
                <a:gd name="connsiteY9" fmla="*/ 63715 h 6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172" h="63722">
                  <a:moveTo>
                    <a:pt x="6938" y="63715"/>
                  </a:moveTo>
                  <a:cubicBezTo>
                    <a:pt x="5003" y="63729"/>
                    <a:pt x="3068" y="63593"/>
                    <a:pt x="1152" y="63309"/>
                  </a:cubicBezTo>
                  <a:lnTo>
                    <a:pt x="2884" y="52252"/>
                  </a:lnTo>
                  <a:cubicBezTo>
                    <a:pt x="6570" y="52805"/>
                    <a:pt x="14899" y="52768"/>
                    <a:pt x="17442" y="49156"/>
                  </a:cubicBezTo>
                  <a:cubicBezTo>
                    <a:pt x="20907" y="44218"/>
                    <a:pt x="18179" y="16833"/>
                    <a:pt x="14678" y="12300"/>
                  </a:cubicBezTo>
                  <a:cubicBezTo>
                    <a:pt x="13351" y="10752"/>
                    <a:pt x="7049" y="10752"/>
                    <a:pt x="2515" y="11821"/>
                  </a:cubicBezTo>
                  <a:lnTo>
                    <a:pt x="-28" y="1022"/>
                  </a:lnTo>
                  <a:cubicBezTo>
                    <a:pt x="2700" y="395"/>
                    <a:pt x="16631" y="-2406"/>
                    <a:pt x="23081" y="5113"/>
                  </a:cubicBezTo>
                  <a:cubicBezTo>
                    <a:pt x="29531" y="12632"/>
                    <a:pt x="33401" y="45655"/>
                    <a:pt x="26472" y="55606"/>
                  </a:cubicBezTo>
                  <a:cubicBezTo>
                    <a:pt x="21718" y="62462"/>
                    <a:pt x="12872" y="63715"/>
                    <a:pt x="6938" y="63715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6" name="Freeform: Shape 5203">
              <a:extLst>
                <a:ext uri="{FF2B5EF4-FFF2-40B4-BE49-F238E27FC236}">
                  <a16:creationId xmlns:a16="http://schemas.microsoft.com/office/drawing/2014/main" id="{69106805-C092-36EA-F0CA-0312BC287328}"/>
                </a:ext>
              </a:extLst>
            </p:cNvPr>
            <p:cNvSpPr/>
            <p:nvPr/>
          </p:nvSpPr>
          <p:spPr>
            <a:xfrm>
              <a:off x="2400030" y="2640509"/>
              <a:ext cx="65972" cy="85912"/>
            </a:xfrm>
            <a:custGeom>
              <a:avLst/>
              <a:gdLst>
                <a:gd name="connsiteX0" fmla="*/ 0 w 65972"/>
                <a:gd name="connsiteY0" fmla="*/ 0 h 85912"/>
                <a:gd name="connsiteX1" fmla="*/ 65973 w 65972"/>
                <a:gd name="connsiteY1" fmla="*/ 0 h 85912"/>
                <a:gd name="connsiteX2" fmla="*/ 65973 w 65972"/>
                <a:gd name="connsiteY2" fmla="*/ 85912 h 85912"/>
                <a:gd name="connsiteX3" fmla="*/ 0 w 65972"/>
                <a:gd name="connsiteY3" fmla="*/ 85912 h 8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972" h="85912">
                  <a:moveTo>
                    <a:pt x="0" y="0"/>
                  </a:moveTo>
                  <a:lnTo>
                    <a:pt x="65973" y="0"/>
                  </a:lnTo>
                  <a:lnTo>
                    <a:pt x="65973" y="85912"/>
                  </a:lnTo>
                  <a:lnTo>
                    <a:pt x="0" y="85912"/>
                  </a:ln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7" name="Freeform: Shape 5204">
              <a:extLst>
                <a:ext uri="{FF2B5EF4-FFF2-40B4-BE49-F238E27FC236}">
                  <a16:creationId xmlns:a16="http://schemas.microsoft.com/office/drawing/2014/main" id="{96A2533C-B62B-09FA-A815-01F36CC61184}"/>
                </a:ext>
              </a:extLst>
            </p:cNvPr>
            <p:cNvSpPr/>
            <p:nvPr/>
          </p:nvSpPr>
          <p:spPr>
            <a:xfrm>
              <a:off x="2468322" y="2472555"/>
              <a:ext cx="251649" cy="259545"/>
            </a:xfrm>
            <a:custGeom>
              <a:avLst/>
              <a:gdLst>
                <a:gd name="connsiteX0" fmla="*/ 170251 w 251649"/>
                <a:gd name="connsiteY0" fmla="*/ 32943 h 259545"/>
                <a:gd name="connsiteX1" fmla="*/ 156467 w 251649"/>
                <a:gd name="connsiteY1" fmla="*/ 76654 h 259545"/>
                <a:gd name="connsiteX2" fmla="*/ 172573 w 251649"/>
                <a:gd name="connsiteY2" fmla="*/ 190393 h 259545"/>
                <a:gd name="connsiteX3" fmla="*/ 101993 w 251649"/>
                <a:gd name="connsiteY3" fmla="*/ 204178 h 259545"/>
                <a:gd name="connsiteX4" fmla="*/ 76673 w 251649"/>
                <a:gd name="connsiteY4" fmla="*/ 202666 h 259545"/>
                <a:gd name="connsiteX5" fmla="*/ 49804 w 251649"/>
                <a:gd name="connsiteY5" fmla="*/ 185012 h 259545"/>
                <a:gd name="connsiteX6" fmla="*/ 28354 w 251649"/>
                <a:gd name="connsiteY6" fmla="*/ 175024 h 259545"/>
                <a:gd name="connsiteX7" fmla="*/ 8378 w 251649"/>
                <a:gd name="connsiteY7" fmla="*/ 170454 h 259545"/>
                <a:gd name="connsiteX8" fmla="*/ 15307 w 251649"/>
                <a:gd name="connsiteY8" fmla="*/ 181953 h 259545"/>
                <a:gd name="connsiteX9" fmla="*/ 29091 w 251649"/>
                <a:gd name="connsiteY9" fmla="*/ 191167 h 259545"/>
                <a:gd name="connsiteX10" fmla="*/ 5319 w 251649"/>
                <a:gd name="connsiteY10" fmla="*/ 195774 h 259545"/>
                <a:gd name="connsiteX11" fmla="*/ 1633 w 251649"/>
                <a:gd name="connsiteY11" fmla="*/ 208047 h 259545"/>
                <a:gd name="connsiteX12" fmla="*/ 10073 w 251649"/>
                <a:gd name="connsiteY12" fmla="*/ 217225 h 259545"/>
                <a:gd name="connsiteX13" fmla="*/ 19287 w 251649"/>
                <a:gd name="connsiteY13" fmla="*/ 239339 h 259545"/>
                <a:gd name="connsiteX14" fmla="*/ 56881 w 251649"/>
                <a:gd name="connsiteY14" fmla="*/ 242398 h 259545"/>
                <a:gd name="connsiteX15" fmla="*/ 90641 w 251649"/>
                <a:gd name="connsiteY15" fmla="*/ 244720 h 259545"/>
                <a:gd name="connsiteX16" fmla="*/ 194982 w 251649"/>
                <a:gd name="connsiteY16" fmla="*/ 259278 h 259545"/>
                <a:gd name="connsiteX17" fmla="*/ 250966 w 251649"/>
                <a:gd name="connsiteY17" fmla="*/ 252386 h 259545"/>
                <a:gd name="connsiteX18" fmla="*/ 241752 w 251649"/>
                <a:gd name="connsiteY18" fmla="*/ 65966 h 259545"/>
                <a:gd name="connsiteX19" fmla="*/ 204159 w 251649"/>
                <a:gd name="connsiteY19" fmla="*/ -7 h 25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1649" h="259545">
                  <a:moveTo>
                    <a:pt x="170251" y="32943"/>
                  </a:moveTo>
                  <a:cubicBezTo>
                    <a:pt x="170251" y="32943"/>
                    <a:pt x="157241" y="62096"/>
                    <a:pt x="156467" y="76654"/>
                  </a:cubicBezTo>
                  <a:cubicBezTo>
                    <a:pt x="155693" y="91213"/>
                    <a:pt x="172573" y="190393"/>
                    <a:pt x="172573" y="190393"/>
                  </a:cubicBezTo>
                  <a:cubicBezTo>
                    <a:pt x="172573" y="190393"/>
                    <a:pt x="117288" y="204178"/>
                    <a:pt x="101993" y="204178"/>
                  </a:cubicBezTo>
                  <a:cubicBezTo>
                    <a:pt x="93527" y="204248"/>
                    <a:pt x="85068" y="203743"/>
                    <a:pt x="76673" y="202666"/>
                  </a:cubicBezTo>
                  <a:cubicBezTo>
                    <a:pt x="76673" y="202666"/>
                    <a:pt x="55959" y="188845"/>
                    <a:pt x="49804" y="185012"/>
                  </a:cubicBezTo>
                  <a:cubicBezTo>
                    <a:pt x="43649" y="181179"/>
                    <a:pt x="39079" y="183464"/>
                    <a:pt x="28354" y="175024"/>
                  </a:cubicBezTo>
                  <a:cubicBezTo>
                    <a:pt x="17629" y="166584"/>
                    <a:pt x="9152" y="165847"/>
                    <a:pt x="8378" y="170454"/>
                  </a:cubicBezTo>
                  <a:cubicBezTo>
                    <a:pt x="7604" y="175061"/>
                    <a:pt x="7641" y="178120"/>
                    <a:pt x="15307" y="181953"/>
                  </a:cubicBezTo>
                  <a:cubicBezTo>
                    <a:pt x="20238" y="184492"/>
                    <a:pt x="24860" y="187581"/>
                    <a:pt x="29091" y="191167"/>
                  </a:cubicBezTo>
                  <a:cubicBezTo>
                    <a:pt x="29091" y="191167"/>
                    <a:pt x="10663" y="194853"/>
                    <a:pt x="5319" y="195774"/>
                  </a:cubicBezTo>
                  <a:cubicBezTo>
                    <a:pt x="-26" y="196696"/>
                    <a:pt x="-1574" y="204178"/>
                    <a:pt x="1633" y="208047"/>
                  </a:cubicBezTo>
                  <a:cubicBezTo>
                    <a:pt x="4839" y="211917"/>
                    <a:pt x="10073" y="217225"/>
                    <a:pt x="10073" y="217225"/>
                  </a:cubicBezTo>
                  <a:cubicBezTo>
                    <a:pt x="10073" y="217225"/>
                    <a:pt x="9299" y="235653"/>
                    <a:pt x="19287" y="239339"/>
                  </a:cubicBezTo>
                  <a:cubicBezTo>
                    <a:pt x="29275" y="243024"/>
                    <a:pt x="56881" y="242398"/>
                    <a:pt x="56881" y="242398"/>
                  </a:cubicBezTo>
                  <a:cubicBezTo>
                    <a:pt x="56881" y="242398"/>
                    <a:pt x="86034" y="244720"/>
                    <a:pt x="90641" y="244720"/>
                  </a:cubicBezTo>
                  <a:cubicBezTo>
                    <a:pt x="95248" y="244720"/>
                    <a:pt x="153555" y="259278"/>
                    <a:pt x="194982" y="259278"/>
                  </a:cubicBezTo>
                  <a:cubicBezTo>
                    <a:pt x="236408" y="259278"/>
                    <a:pt x="248681" y="261600"/>
                    <a:pt x="250966" y="252386"/>
                  </a:cubicBezTo>
                  <a:cubicBezTo>
                    <a:pt x="253251" y="243172"/>
                    <a:pt x="249418" y="107393"/>
                    <a:pt x="241752" y="65966"/>
                  </a:cubicBezTo>
                  <a:cubicBezTo>
                    <a:pt x="234086" y="24539"/>
                    <a:pt x="216432" y="1504"/>
                    <a:pt x="204159" y="-7"/>
                  </a:cubicBezTo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8" name="Freeform: Shape 5209">
              <a:extLst>
                <a:ext uri="{FF2B5EF4-FFF2-40B4-BE49-F238E27FC236}">
                  <a16:creationId xmlns:a16="http://schemas.microsoft.com/office/drawing/2014/main" id="{B4928EE5-8DE2-3D4A-8AB6-34B00B3A42B1}"/>
                </a:ext>
              </a:extLst>
            </p:cNvPr>
            <p:cNvSpPr/>
            <p:nvPr/>
          </p:nvSpPr>
          <p:spPr>
            <a:xfrm>
              <a:off x="2468322" y="2640056"/>
              <a:ext cx="132353" cy="84928"/>
            </a:xfrm>
            <a:custGeom>
              <a:avLst/>
              <a:gdLst>
                <a:gd name="connsiteX0" fmla="*/ 127497 w 132353"/>
                <a:gd name="connsiteY0" fmla="*/ 32843 h 84928"/>
                <a:gd name="connsiteX1" fmla="*/ 101993 w 132353"/>
                <a:gd name="connsiteY1" fmla="*/ 36529 h 84928"/>
                <a:gd name="connsiteX2" fmla="*/ 76673 w 132353"/>
                <a:gd name="connsiteY2" fmla="*/ 35018 h 84928"/>
                <a:gd name="connsiteX3" fmla="*/ 49804 w 132353"/>
                <a:gd name="connsiteY3" fmla="*/ 17364 h 84928"/>
                <a:gd name="connsiteX4" fmla="*/ 28354 w 132353"/>
                <a:gd name="connsiteY4" fmla="*/ 7376 h 84928"/>
                <a:gd name="connsiteX5" fmla="*/ 8378 w 132353"/>
                <a:gd name="connsiteY5" fmla="*/ 2806 h 84928"/>
                <a:gd name="connsiteX6" fmla="*/ 15307 w 132353"/>
                <a:gd name="connsiteY6" fmla="*/ 14305 h 84928"/>
                <a:gd name="connsiteX7" fmla="*/ 29091 w 132353"/>
                <a:gd name="connsiteY7" fmla="*/ 23519 h 84928"/>
                <a:gd name="connsiteX8" fmla="*/ 5319 w 132353"/>
                <a:gd name="connsiteY8" fmla="*/ 28126 h 84928"/>
                <a:gd name="connsiteX9" fmla="*/ 1633 w 132353"/>
                <a:gd name="connsiteY9" fmla="*/ 40399 h 84928"/>
                <a:gd name="connsiteX10" fmla="*/ 10073 w 132353"/>
                <a:gd name="connsiteY10" fmla="*/ 49576 h 84928"/>
                <a:gd name="connsiteX11" fmla="*/ 19287 w 132353"/>
                <a:gd name="connsiteY11" fmla="*/ 71690 h 84928"/>
                <a:gd name="connsiteX12" fmla="*/ 56881 w 132353"/>
                <a:gd name="connsiteY12" fmla="*/ 74749 h 84928"/>
                <a:gd name="connsiteX13" fmla="*/ 90641 w 132353"/>
                <a:gd name="connsiteY13" fmla="*/ 77071 h 84928"/>
                <a:gd name="connsiteX14" fmla="*/ 132326 w 132353"/>
                <a:gd name="connsiteY14" fmla="*/ 84922 h 84928"/>
                <a:gd name="connsiteX15" fmla="*/ 127497 w 132353"/>
                <a:gd name="connsiteY15" fmla="*/ 32843 h 8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2353" h="84928">
                  <a:moveTo>
                    <a:pt x="127497" y="32843"/>
                  </a:moveTo>
                  <a:cubicBezTo>
                    <a:pt x="119105" y="34734"/>
                    <a:pt x="110577" y="35969"/>
                    <a:pt x="101993" y="36529"/>
                  </a:cubicBezTo>
                  <a:cubicBezTo>
                    <a:pt x="93527" y="36599"/>
                    <a:pt x="85068" y="36094"/>
                    <a:pt x="76673" y="35018"/>
                  </a:cubicBezTo>
                  <a:cubicBezTo>
                    <a:pt x="76673" y="35018"/>
                    <a:pt x="55959" y="21197"/>
                    <a:pt x="49804" y="17364"/>
                  </a:cubicBezTo>
                  <a:cubicBezTo>
                    <a:pt x="43649" y="13531"/>
                    <a:pt x="39079" y="15816"/>
                    <a:pt x="28354" y="7376"/>
                  </a:cubicBezTo>
                  <a:cubicBezTo>
                    <a:pt x="17629" y="-1064"/>
                    <a:pt x="9152" y="-1802"/>
                    <a:pt x="8378" y="2806"/>
                  </a:cubicBezTo>
                  <a:cubicBezTo>
                    <a:pt x="7604" y="7413"/>
                    <a:pt x="7641" y="10472"/>
                    <a:pt x="15307" y="14305"/>
                  </a:cubicBezTo>
                  <a:cubicBezTo>
                    <a:pt x="20238" y="16844"/>
                    <a:pt x="24860" y="19933"/>
                    <a:pt x="29091" y="23519"/>
                  </a:cubicBezTo>
                  <a:cubicBezTo>
                    <a:pt x="29091" y="23519"/>
                    <a:pt x="10663" y="27204"/>
                    <a:pt x="5319" y="28126"/>
                  </a:cubicBezTo>
                  <a:cubicBezTo>
                    <a:pt x="-26" y="29047"/>
                    <a:pt x="-1574" y="36529"/>
                    <a:pt x="1633" y="40399"/>
                  </a:cubicBezTo>
                  <a:cubicBezTo>
                    <a:pt x="4839" y="44269"/>
                    <a:pt x="10073" y="49576"/>
                    <a:pt x="10073" y="49576"/>
                  </a:cubicBezTo>
                  <a:cubicBezTo>
                    <a:pt x="10073" y="49576"/>
                    <a:pt x="9299" y="68004"/>
                    <a:pt x="19287" y="71690"/>
                  </a:cubicBezTo>
                  <a:cubicBezTo>
                    <a:pt x="29275" y="75376"/>
                    <a:pt x="56881" y="74749"/>
                    <a:pt x="56881" y="74749"/>
                  </a:cubicBezTo>
                  <a:cubicBezTo>
                    <a:pt x="56881" y="74749"/>
                    <a:pt x="86034" y="77071"/>
                    <a:pt x="90641" y="77071"/>
                  </a:cubicBezTo>
                  <a:cubicBezTo>
                    <a:pt x="93074" y="77071"/>
                    <a:pt x="110396" y="81125"/>
                    <a:pt x="132326" y="84922"/>
                  </a:cubicBezTo>
                  <a:cubicBezTo>
                    <a:pt x="124254" y="66457"/>
                    <a:pt x="125286" y="46296"/>
                    <a:pt x="127497" y="32843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9" name="Freeform: Shape 5210">
              <a:extLst>
                <a:ext uri="{FF2B5EF4-FFF2-40B4-BE49-F238E27FC236}">
                  <a16:creationId xmlns:a16="http://schemas.microsoft.com/office/drawing/2014/main" id="{A3253148-B70B-F89A-4252-6EDEBE4BF5E2}"/>
                </a:ext>
              </a:extLst>
            </p:cNvPr>
            <p:cNvSpPr/>
            <p:nvPr/>
          </p:nvSpPr>
          <p:spPr>
            <a:xfrm>
              <a:off x="1696861" y="3389236"/>
              <a:ext cx="72040" cy="88905"/>
            </a:xfrm>
            <a:custGeom>
              <a:avLst/>
              <a:gdLst>
                <a:gd name="connsiteX0" fmla="*/ 22035 w 72040"/>
                <a:gd name="connsiteY0" fmla="*/ 4832 h 88905"/>
                <a:gd name="connsiteX1" fmla="*/ 7293 w 72040"/>
                <a:gd name="connsiteY1" fmla="*/ 51861 h 88905"/>
                <a:gd name="connsiteX2" fmla="*/ 20524 w 72040"/>
                <a:gd name="connsiteY2" fmla="*/ 87833 h 88905"/>
                <a:gd name="connsiteX3" fmla="*/ 63130 w 72040"/>
                <a:gd name="connsiteY3" fmla="*/ 72427 h 88905"/>
                <a:gd name="connsiteX4" fmla="*/ 71939 w 72040"/>
                <a:gd name="connsiteY4" fmla="*/ 20275 h 88905"/>
                <a:gd name="connsiteX5" fmla="*/ 22035 w 72040"/>
                <a:gd name="connsiteY5" fmla="*/ 4832 h 88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040" h="88905">
                  <a:moveTo>
                    <a:pt x="22035" y="4832"/>
                  </a:moveTo>
                  <a:cubicBezTo>
                    <a:pt x="19124" y="21067"/>
                    <a:pt x="14170" y="36868"/>
                    <a:pt x="7293" y="51861"/>
                  </a:cubicBezTo>
                  <a:cubicBezTo>
                    <a:pt x="-3764" y="75339"/>
                    <a:pt x="-4464" y="84184"/>
                    <a:pt x="20524" y="87833"/>
                  </a:cubicBezTo>
                  <a:cubicBezTo>
                    <a:pt x="45513" y="91482"/>
                    <a:pt x="57970" y="85622"/>
                    <a:pt x="63130" y="72427"/>
                  </a:cubicBezTo>
                  <a:cubicBezTo>
                    <a:pt x="68290" y="59232"/>
                    <a:pt x="70501" y="27609"/>
                    <a:pt x="71939" y="20275"/>
                  </a:cubicBezTo>
                  <a:cubicBezTo>
                    <a:pt x="73376" y="12941"/>
                    <a:pt x="53658" y="-9873"/>
                    <a:pt x="22035" y="4832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0" name="Freeform: Shape 5229">
              <a:extLst>
                <a:ext uri="{FF2B5EF4-FFF2-40B4-BE49-F238E27FC236}">
                  <a16:creationId xmlns:a16="http://schemas.microsoft.com/office/drawing/2014/main" id="{B5158B25-A3AF-BF0C-8B6D-FFAB2EBF4EFE}"/>
                </a:ext>
              </a:extLst>
            </p:cNvPr>
            <p:cNvSpPr/>
            <p:nvPr/>
          </p:nvSpPr>
          <p:spPr>
            <a:xfrm>
              <a:off x="1696976" y="3442578"/>
              <a:ext cx="67539" cy="35577"/>
            </a:xfrm>
            <a:custGeom>
              <a:avLst/>
              <a:gdLst>
                <a:gd name="connsiteX0" fmla="*/ 63089 w 67539"/>
                <a:gd name="connsiteY0" fmla="*/ 8065 h 35577"/>
                <a:gd name="connsiteX1" fmla="*/ 24869 w 67539"/>
                <a:gd name="connsiteY1" fmla="*/ 27156 h 35577"/>
                <a:gd name="connsiteX2" fmla="*/ 1023 w 67539"/>
                <a:gd name="connsiteY2" fmla="*/ 14072 h 35577"/>
                <a:gd name="connsiteX3" fmla="*/ 20483 w 67539"/>
                <a:gd name="connsiteY3" fmla="*/ 34491 h 35577"/>
                <a:gd name="connsiteX4" fmla="*/ 63089 w 67539"/>
                <a:gd name="connsiteY4" fmla="*/ 19085 h 35577"/>
                <a:gd name="connsiteX5" fmla="*/ 67512 w 67539"/>
                <a:gd name="connsiteY5" fmla="*/ -7 h 35577"/>
                <a:gd name="connsiteX6" fmla="*/ 63089 w 67539"/>
                <a:gd name="connsiteY6" fmla="*/ 8065 h 35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539" h="35577">
                  <a:moveTo>
                    <a:pt x="63089" y="8065"/>
                  </a:moveTo>
                  <a:cubicBezTo>
                    <a:pt x="57929" y="17610"/>
                    <a:pt x="51332" y="29368"/>
                    <a:pt x="24869" y="27156"/>
                  </a:cubicBezTo>
                  <a:cubicBezTo>
                    <a:pt x="9869" y="25903"/>
                    <a:pt x="3603" y="19416"/>
                    <a:pt x="1023" y="14072"/>
                  </a:cubicBezTo>
                  <a:cubicBezTo>
                    <a:pt x="-2368" y="26235"/>
                    <a:pt x="2018" y="31800"/>
                    <a:pt x="20483" y="34491"/>
                  </a:cubicBezTo>
                  <a:cubicBezTo>
                    <a:pt x="45435" y="38176"/>
                    <a:pt x="57929" y="32279"/>
                    <a:pt x="63089" y="19085"/>
                  </a:cubicBezTo>
                  <a:cubicBezTo>
                    <a:pt x="65161" y="12874"/>
                    <a:pt x="66639" y="6480"/>
                    <a:pt x="67512" y="-7"/>
                  </a:cubicBezTo>
                  <a:cubicBezTo>
                    <a:pt x="66185" y="2352"/>
                    <a:pt x="64674" y="5079"/>
                    <a:pt x="63089" y="8065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1" name="Freeform: Shape 5231">
              <a:extLst>
                <a:ext uri="{FF2B5EF4-FFF2-40B4-BE49-F238E27FC236}">
                  <a16:creationId xmlns:a16="http://schemas.microsoft.com/office/drawing/2014/main" id="{8B4AF0A0-36D3-77CF-9231-D5D5E9A76F8C}"/>
                </a:ext>
              </a:extLst>
            </p:cNvPr>
            <p:cNvSpPr/>
            <p:nvPr/>
          </p:nvSpPr>
          <p:spPr>
            <a:xfrm>
              <a:off x="1845750" y="3386837"/>
              <a:ext cx="160543" cy="69009"/>
            </a:xfrm>
            <a:custGeom>
              <a:avLst/>
              <a:gdLst>
                <a:gd name="connsiteX0" fmla="*/ 81053 w 160543"/>
                <a:gd name="connsiteY0" fmla="*/ 634 h 69009"/>
                <a:gd name="connsiteX1" fmla="*/ 119974 w 160543"/>
                <a:gd name="connsiteY1" fmla="*/ 25586 h 69009"/>
                <a:gd name="connsiteX2" fmla="*/ 160516 w 160543"/>
                <a:gd name="connsiteY2" fmla="*/ 46889 h 69009"/>
                <a:gd name="connsiteX3" fmla="*/ 155356 w 160543"/>
                <a:gd name="connsiteY3" fmla="*/ 61632 h 69009"/>
                <a:gd name="connsiteX4" fmla="*/ 105415 w 160543"/>
                <a:gd name="connsiteY4" fmla="*/ 69003 h 69009"/>
                <a:gd name="connsiteX5" fmla="*/ 41506 w 160543"/>
                <a:gd name="connsiteY5" fmla="*/ 66054 h 69009"/>
                <a:gd name="connsiteX6" fmla="*/ 375 w 160543"/>
                <a:gd name="connsiteY6" fmla="*/ 54334 h 69009"/>
                <a:gd name="connsiteX7" fmla="*/ 1812 w 160543"/>
                <a:gd name="connsiteY7" fmla="*/ 16114 h 69009"/>
                <a:gd name="connsiteX8" fmla="*/ 81053 w 160543"/>
                <a:gd name="connsiteY8" fmla="*/ 634 h 69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543" h="69009">
                  <a:moveTo>
                    <a:pt x="81053" y="634"/>
                  </a:moveTo>
                  <a:cubicBezTo>
                    <a:pt x="92645" y="10932"/>
                    <a:pt x="105777" y="19350"/>
                    <a:pt x="119974" y="25586"/>
                  </a:cubicBezTo>
                  <a:cubicBezTo>
                    <a:pt x="143488" y="35869"/>
                    <a:pt x="160516" y="41766"/>
                    <a:pt x="160516" y="46889"/>
                  </a:cubicBezTo>
                  <a:cubicBezTo>
                    <a:pt x="159664" y="52067"/>
                    <a:pt x="157917" y="57054"/>
                    <a:pt x="155356" y="61632"/>
                  </a:cubicBezTo>
                  <a:cubicBezTo>
                    <a:pt x="139080" y="66150"/>
                    <a:pt x="122303" y="68627"/>
                    <a:pt x="105415" y="69003"/>
                  </a:cubicBezTo>
                  <a:cubicBezTo>
                    <a:pt x="80427" y="69003"/>
                    <a:pt x="59861" y="66792"/>
                    <a:pt x="41506" y="66054"/>
                  </a:cubicBezTo>
                  <a:cubicBezTo>
                    <a:pt x="23152" y="65317"/>
                    <a:pt x="1812" y="67529"/>
                    <a:pt x="375" y="54334"/>
                  </a:cubicBezTo>
                  <a:cubicBezTo>
                    <a:pt x="-1063" y="41140"/>
                    <a:pt x="1812" y="16114"/>
                    <a:pt x="1812" y="16114"/>
                  </a:cubicBezTo>
                  <a:cubicBezTo>
                    <a:pt x="1812" y="16114"/>
                    <a:pt x="66311" y="-3788"/>
                    <a:pt x="81053" y="634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2" name="Freeform: Shape 5233">
              <a:extLst>
                <a:ext uri="{FF2B5EF4-FFF2-40B4-BE49-F238E27FC236}">
                  <a16:creationId xmlns:a16="http://schemas.microsoft.com/office/drawing/2014/main" id="{EE5E251D-6222-7453-8283-9967390E2F61}"/>
                </a:ext>
              </a:extLst>
            </p:cNvPr>
            <p:cNvSpPr/>
            <p:nvPr/>
          </p:nvSpPr>
          <p:spPr>
            <a:xfrm>
              <a:off x="1845820" y="3438866"/>
              <a:ext cx="157782" cy="16796"/>
            </a:xfrm>
            <a:custGeom>
              <a:avLst/>
              <a:gdLst>
                <a:gd name="connsiteX0" fmla="*/ 155175 w 157782"/>
                <a:gd name="connsiteY0" fmla="*/ 9566 h 16796"/>
                <a:gd name="connsiteX1" fmla="*/ 157754 w 157782"/>
                <a:gd name="connsiteY1" fmla="*/ 4148 h 16796"/>
                <a:gd name="connsiteX2" fmla="*/ 121377 w 157782"/>
                <a:gd name="connsiteY2" fmla="*/ 8091 h 16796"/>
                <a:gd name="connsiteX3" fmla="*/ 55257 w 157782"/>
                <a:gd name="connsiteY3" fmla="*/ 1494 h 16796"/>
                <a:gd name="connsiteX4" fmla="*/ -28 w 157782"/>
                <a:gd name="connsiteY4" fmla="*/ 1494 h 16796"/>
                <a:gd name="connsiteX5" fmla="*/ -28 w 157782"/>
                <a:gd name="connsiteY5" fmla="*/ 2121 h 16796"/>
                <a:gd name="connsiteX6" fmla="*/ 41104 w 157782"/>
                <a:gd name="connsiteY6" fmla="*/ 13841 h 16796"/>
                <a:gd name="connsiteX7" fmla="*/ 105013 w 157782"/>
                <a:gd name="connsiteY7" fmla="*/ 16789 h 16796"/>
                <a:gd name="connsiteX8" fmla="*/ 155175 w 157782"/>
                <a:gd name="connsiteY8" fmla="*/ 9566 h 1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782" h="16796">
                  <a:moveTo>
                    <a:pt x="155175" y="9566"/>
                  </a:moveTo>
                  <a:cubicBezTo>
                    <a:pt x="155175" y="9566"/>
                    <a:pt x="156465" y="7170"/>
                    <a:pt x="157754" y="4148"/>
                  </a:cubicBezTo>
                  <a:cubicBezTo>
                    <a:pt x="145736" y="6315"/>
                    <a:pt x="133580" y="7634"/>
                    <a:pt x="121377" y="8091"/>
                  </a:cubicBezTo>
                  <a:cubicBezTo>
                    <a:pt x="94951" y="8828"/>
                    <a:pt x="85405" y="5143"/>
                    <a:pt x="55257" y="1494"/>
                  </a:cubicBezTo>
                  <a:cubicBezTo>
                    <a:pt x="36884" y="-507"/>
                    <a:pt x="18345" y="-507"/>
                    <a:pt x="-28" y="1494"/>
                  </a:cubicBezTo>
                  <a:cubicBezTo>
                    <a:pt x="-28" y="1678"/>
                    <a:pt x="-28" y="1899"/>
                    <a:pt x="-28" y="2121"/>
                  </a:cubicBezTo>
                  <a:cubicBezTo>
                    <a:pt x="1410" y="15315"/>
                    <a:pt x="22750" y="13178"/>
                    <a:pt x="41104" y="13841"/>
                  </a:cubicBezTo>
                  <a:cubicBezTo>
                    <a:pt x="59459" y="14504"/>
                    <a:pt x="80024" y="16789"/>
                    <a:pt x="105013" y="16789"/>
                  </a:cubicBezTo>
                  <a:cubicBezTo>
                    <a:pt x="121971" y="16480"/>
                    <a:pt x="138821" y="14051"/>
                    <a:pt x="155175" y="9566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3" name="Freeform: Shape 5234">
              <a:extLst>
                <a:ext uri="{FF2B5EF4-FFF2-40B4-BE49-F238E27FC236}">
                  <a16:creationId xmlns:a16="http://schemas.microsoft.com/office/drawing/2014/main" id="{D2E4C267-9877-9934-4BEC-F915BC74D5B7}"/>
                </a:ext>
              </a:extLst>
            </p:cNvPr>
            <p:cNvSpPr/>
            <p:nvPr/>
          </p:nvSpPr>
          <p:spPr>
            <a:xfrm>
              <a:off x="1705179" y="2790994"/>
              <a:ext cx="228470" cy="626632"/>
            </a:xfrm>
            <a:custGeom>
              <a:avLst/>
              <a:gdLst>
                <a:gd name="connsiteX0" fmla="*/ 226084 w 228470"/>
                <a:gd name="connsiteY0" fmla="*/ 20411 h 626632"/>
                <a:gd name="connsiteX1" fmla="*/ 223062 w 228470"/>
                <a:gd name="connsiteY1" fmla="*/ 229793 h 626632"/>
                <a:gd name="connsiteX2" fmla="*/ 210973 w 228470"/>
                <a:gd name="connsiteY2" fmla="*/ 492837 h 626632"/>
                <a:gd name="connsiteX3" fmla="*/ 217939 w 228470"/>
                <a:gd name="connsiteY3" fmla="*/ 579007 h 626632"/>
                <a:gd name="connsiteX4" fmla="*/ 224757 w 228470"/>
                <a:gd name="connsiteY4" fmla="*/ 587337 h 626632"/>
                <a:gd name="connsiteX5" fmla="*/ 228443 w 228470"/>
                <a:gd name="connsiteY5" fmla="*/ 600937 h 626632"/>
                <a:gd name="connsiteX6" fmla="*/ 201243 w 228470"/>
                <a:gd name="connsiteY6" fmla="*/ 611515 h 626632"/>
                <a:gd name="connsiteX7" fmla="*/ 143784 w 228470"/>
                <a:gd name="connsiteY7" fmla="*/ 619844 h 626632"/>
                <a:gd name="connsiteX8" fmla="*/ 142273 w 228470"/>
                <a:gd name="connsiteY8" fmla="*/ 591096 h 626632"/>
                <a:gd name="connsiteX9" fmla="*/ 143784 w 228470"/>
                <a:gd name="connsiteY9" fmla="*/ 571452 h 626632"/>
                <a:gd name="connsiteX10" fmla="*/ 133206 w 228470"/>
                <a:gd name="connsiteY10" fmla="*/ 379467 h 626632"/>
                <a:gd name="connsiteX11" fmla="*/ 130958 w 228470"/>
                <a:gd name="connsiteY11" fmla="*/ 216930 h 626632"/>
                <a:gd name="connsiteX12" fmla="*/ 127272 w 228470"/>
                <a:gd name="connsiteY12" fmla="*/ 170085 h 626632"/>
                <a:gd name="connsiteX13" fmla="*/ 95539 w 228470"/>
                <a:gd name="connsiteY13" fmla="*/ 306896 h 626632"/>
                <a:gd name="connsiteX14" fmla="*/ 72835 w 228470"/>
                <a:gd name="connsiteY14" fmla="*/ 485281 h 626632"/>
                <a:gd name="connsiteX15" fmla="*/ 63769 w 228470"/>
                <a:gd name="connsiteY15" fmla="*/ 580518 h 626632"/>
                <a:gd name="connsiteX16" fmla="*/ 69813 w 228470"/>
                <a:gd name="connsiteY16" fmla="*/ 597141 h 626632"/>
                <a:gd name="connsiteX17" fmla="*/ 64542 w 228470"/>
                <a:gd name="connsiteY17" fmla="*/ 626626 h 626632"/>
                <a:gd name="connsiteX18" fmla="*/ 42613 w 228470"/>
                <a:gd name="connsiteY18" fmla="*/ 618333 h 626632"/>
                <a:gd name="connsiteX19" fmla="*/ 11617 w 228470"/>
                <a:gd name="connsiteY19" fmla="*/ 616048 h 626632"/>
                <a:gd name="connsiteX20" fmla="*/ 5572 w 228470"/>
                <a:gd name="connsiteY20" fmla="*/ 563122 h 626632"/>
                <a:gd name="connsiteX21" fmla="*/ 5572 w 228470"/>
                <a:gd name="connsiteY21" fmla="*/ 516278 h 626632"/>
                <a:gd name="connsiteX22" fmla="*/ 7857 w 228470"/>
                <a:gd name="connsiteY22" fmla="*/ 366604 h 626632"/>
                <a:gd name="connsiteX23" fmla="*/ 7083 w 228470"/>
                <a:gd name="connsiteY23" fmla="*/ 142111 h 626632"/>
                <a:gd name="connsiteX24" fmla="*/ 1813 w 228470"/>
                <a:gd name="connsiteY24" fmla="*/ 27230 h 626632"/>
                <a:gd name="connsiteX25" fmla="*/ 10106 w 228470"/>
                <a:gd name="connsiteY25" fmla="*/ -7 h 626632"/>
                <a:gd name="connsiteX26" fmla="*/ 127272 w 228470"/>
                <a:gd name="connsiteY26" fmla="*/ 15878 h 626632"/>
                <a:gd name="connsiteX27" fmla="*/ 221772 w 228470"/>
                <a:gd name="connsiteY27" fmla="*/ 8323 h 626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8470" h="626632">
                  <a:moveTo>
                    <a:pt x="226084" y="20411"/>
                  </a:moveTo>
                  <a:cubicBezTo>
                    <a:pt x="226084" y="20411"/>
                    <a:pt x="229770" y="131534"/>
                    <a:pt x="223062" y="229793"/>
                  </a:cubicBezTo>
                  <a:cubicBezTo>
                    <a:pt x="216354" y="328052"/>
                    <a:pt x="207177" y="472418"/>
                    <a:pt x="210973" y="492837"/>
                  </a:cubicBezTo>
                  <a:cubicBezTo>
                    <a:pt x="214769" y="513255"/>
                    <a:pt x="217939" y="579007"/>
                    <a:pt x="217939" y="579007"/>
                  </a:cubicBezTo>
                  <a:lnTo>
                    <a:pt x="224757" y="587337"/>
                  </a:lnTo>
                  <a:lnTo>
                    <a:pt x="228443" y="600937"/>
                  </a:lnTo>
                  <a:cubicBezTo>
                    <a:pt x="228443" y="600937"/>
                    <a:pt x="224757" y="604622"/>
                    <a:pt x="201243" y="611515"/>
                  </a:cubicBezTo>
                  <a:cubicBezTo>
                    <a:pt x="177728" y="618407"/>
                    <a:pt x="143784" y="619844"/>
                    <a:pt x="143784" y="619844"/>
                  </a:cubicBezTo>
                  <a:cubicBezTo>
                    <a:pt x="143784" y="619844"/>
                    <a:pt x="142273" y="597141"/>
                    <a:pt x="142273" y="591096"/>
                  </a:cubicBezTo>
                  <a:cubicBezTo>
                    <a:pt x="142273" y="585052"/>
                    <a:pt x="143784" y="571452"/>
                    <a:pt x="143784" y="571452"/>
                  </a:cubicBezTo>
                  <a:cubicBezTo>
                    <a:pt x="143784" y="571452"/>
                    <a:pt x="130958" y="411974"/>
                    <a:pt x="133206" y="379467"/>
                  </a:cubicBezTo>
                  <a:cubicBezTo>
                    <a:pt x="135454" y="346959"/>
                    <a:pt x="130958" y="216930"/>
                    <a:pt x="130958" y="216930"/>
                  </a:cubicBezTo>
                  <a:lnTo>
                    <a:pt x="127272" y="170085"/>
                  </a:lnTo>
                  <a:cubicBezTo>
                    <a:pt x="127272" y="170085"/>
                    <a:pt x="97050" y="291712"/>
                    <a:pt x="95539" y="306896"/>
                  </a:cubicBezTo>
                  <a:cubicBezTo>
                    <a:pt x="94028" y="322081"/>
                    <a:pt x="72835" y="476215"/>
                    <a:pt x="72835" y="485281"/>
                  </a:cubicBezTo>
                  <a:cubicBezTo>
                    <a:pt x="72835" y="494348"/>
                    <a:pt x="63769" y="580518"/>
                    <a:pt x="63769" y="580518"/>
                  </a:cubicBezTo>
                  <a:cubicBezTo>
                    <a:pt x="66901" y="585586"/>
                    <a:pt x="68958" y="591244"/>
                    <a:pt x="69813" y="597141"/>
                  </a:cubicBezTo>
                  <a:cubicBezTo>
                    <a:pt x="70587" y="605470"/>
                    <a:pt x="64542" y="626626"/>
                    <a:pt x="64542" y="626626"/>
                  </a:cubicBezTo>
                  <a:cubicBezTo>
                    <a:pt x="57923" y="622299"/>
                    <a:pt x="50438" y="619472"/>
                    <a:pt x="42613" y="618333"/>
                  </a:cubicBezTo>
                  <a:lnTo>
                    <a:pt x="11617" y="616048"/>
                  </a:lnTo>
                  <a:cubicBezTo>
                    <a:pt x="11617" y="616048"/>
                    <a:pt x="5572" y="572189"/>
                    <a:pt x="5572" y="563122"/>
                  </a:cubicBezTo>
                  <a:lnTo>
                    <a:pt x="5572" y="516278"/>
                  </a:lnTo>
                  <a:cubicBezTo>
                    <a:pt x="5572" y="516278"/>
                    <a:pt x="2550" y="408178"/>
                    <a:pt x="7857" y="366604"/>
                  </a:cubicBezTo>
                  <a:cubicBezTo>
                    <a:pt x="13165" y="325030"/>
                    <a:pt x="10106" y="196548"/>
                    <a:pt x="7083" y="142111"/>
                  </a:cubicBezTo>
                  <a:cubicBezTo>
                    <a:pt x="4061" y="87674"/>
                    <a:pt x="-3494" y="39319"/>
                    <a:pt x="1813" y="27230"/>
                  </a:cubicBezTo>
                  <a:cubicBezTo>
                    <a:pt x="5392" y="18418"/>
                    <a:pt x="8167" y="9303"/>
                    <a:pt x="10106" y="-7"/>
                  </a:cubicBezTo>
                  <a:cubicBezTo>
                    <a:pt x="48742" y="8028"/>
                    <a:pt x="87891" y="13335"/>
                    <a:pt x="127272" y="15878"/>
                  </a:cubicBezTo>
                  <a:cubicBezTo>
                    <a:pt x="189928" y="19564"/>
                    <a:pt x="221772" y="8323"/>
                    <a:pt x="221772" y="8323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4" name="Freeform: Shape 5235">
              <a:extLst>
                <a:ext uri="{FF2B5EF4-FFF2-40B4-BE49-F238E27FC236}">
                  <a16:creationId xmlns:a16="http://schemas.microsoft.com/office/drawing/2014/main" id="{EF45D70F-AFC4-5C7B-22A7-FEB146ED39AA}"/>
                </a:ext>
              </a:extLst>
            </p:cNvPr>
            <p:cNvSpPr/>
            <p:nvPr/>
          </p:nvSpPr>
          <p:spPr>
            <a:xfrm>
              <a:off x="1832294" y="2912178"/>
              <a:ext cx="16695" cy="48908"/>
            </a:xfrm>
            <a:custGeom>
              <a:avLst/>
              <a:gdLst>
                <a:gd name="connsiteX0" fmla="*/ 0 w 16695"/>
                <a:gd name="connsiteY0" fmla="*/ 48909 h 48908"/>
                <a:gd name="connsiteX1" fmla="*/ 16696 w 16695"/>
                <a:gd name="connsiteY1" fmla="*/ 0 h 4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95" h="48908">
                  <a:moveTo>
                    <a:pt x="0" y="48909"/>
                  </a:moveTo>
                  <a:lnTo>
                    <a:pt x="16696" y="0"/>
                  </a:lnTo>
                </a:path>
              </a:pathLst>
            </a:custGeom>
            <a:ln w="367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5" name="Freeform: Shape 5238">
              <a:extLst>
                <a:ext uri="{FF2B5EF4-FFF2-40B4-BE49-F238E27FC236}">
                  <a16:creationId xmlns:a16="http://schemas.microsoft.com/office/drawing/2014/main" id="{687AE25E-20AD-1921-6DB7-726A2C4E5391}"/>
                </a:ext>
              </a:extLst>
            </p:cNvPr>
            <p:cNvSpPr/>
            <p:nvPr/>
          </p:nvSpPr>
          <p:spPr>
            <a:xfrm>
              <a:off x="1822425" y="2419139"/>
              <a:ext cx="92538" cy="412666"/>
            </a:xfrm>
            <a:custGeom>
              <a:avLst/>
              <a:gdLst>
                <a:gd name="connsiteX0" fmla="*/ 8552 w 92538"/>
                <a:gd name="connsiteY0" fmla="*/ 412427 h 412666"/>
                <a:gd name="connsiteX1" fmla="*/ 51268 w 92538"/>
                <a:gd name="connsiteY1" fmla="*/ 409589 h 412666"/>
                <a:gd name="connsiteX2" fmla="*/ 92510 w 92538"/>
                <a:gd name="connsiteY2" fmla="*/ 398901 h 412666"/>
                <a:gd name="connsiteX3" fmla="*/ 73308 w 92538"/>
                <a:gd name="connsiteY3" fmla="*/ 24661 h 412666"/>
                <a:gd name="connsiteX4" fmla="*/ 53406 w 92538"/>
                <a:gd name="connsiteY4" fmla="*/ 815 h 412666"/>
                <a:gd name="connsiteX5" fmla="*/ 1438 w 92538"/>
                <a:gd name="connsiteY5" fmla="*/ 27867 h 412666"/>
                <a:gd name="connsiteX6" fmla="*/ 8552 w 92538"/>
                <a:gd name="connsiteY6" fmla="*/ 412427 h 41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538" h="412666">
                  <a:moveTo>
                    <a:pt x="8552" y="412427"/>
                  </a:moveTo>
                  <a:cubicBezTo>
                    <a:pt x="8552" y="412427"/>
                    <a:pt x="22078" y="413864"/>
                    <a:pt x="51268" y="409589"/>
                  </a:cubicBezTo>
                  <a:cubicBezTo>
                    <a:pt x="80458" y="405314"/>
                    <a:pt x="92510" y="398901"/>
                    <a:pt x="92510" y="398901"/>
                  </a:cubicBezTo>
                  <a:cubicBezTo>
                    <a:pt x="92510" y="398901"/>
                    <a:pt x="73308" y="28236"/>
                    <a:pt x="73308" y="24661"/>
                  </a:cubicBezTo>
                  <a:cubicBezTo>
                    <a:pt x="74134" y="12664"/>
                    <a:pt x="65358" y="2149"/>
                    <a:pt x="53406" y="815"/>
                  </a:cubicBezTo>
                  <a:cubicBezTo>
                    <a:pt x="33467" y="-2871"/>
                    <a:pt x="7151" y="5790"/>
                    <a:pt x="1438" y="27867"/>
                  </a:cubicBezTo>
                  <a:cubicBezTo>
                    <a:pt x="-4274" y="49944"/>
                    <a:pt x="8552" y="412427"/>
                    <a:pt x="8552" y="41242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6" name="Freeform: Shape 5241">
              <a:extLst>
                <a:ext uri="{FF2B5EF4-FFF2-40B4-BE49-F238E27FC236}">
                  <a16:creationId xmlns:a16="http://schemas.microsoft.com/office/drawing/2014/main" id="{05DB97EF-31CC-8F51-D5EC-96024940A60C}"/>
                </a:ext>
              </a:extLst>
            </p:cNvPr>
            <p:cNvSpPr/>
            <p:nvPr/>
          </p:nvSpPr>
          <p:spPr>
            <a:xfrm>
              <a:off x="1913202" y="2834680"/>
              <a:ext cx="52841" cy="39878"/>
            </a:xfrm>
            <a:custGeom>
              <a:avLst/>
              <a:gdLst>
                <a:gd name="connsiteX0" fmla="*/ 922 w 52841"/>
                <a:gd name="connsiteY0" fmla="*/ 16235 h 39878"/>
                <a:gd name="connsiteX1" fmla="*/ 922 w 52841"/>
                <a:gd name="connsiteY1" fmla="*/ 39713 h 39878"/>
                <a:gd name="connsiteX2" fmla="*/ 37226 w 52841"/>
                <a:gd name="connsiteY2" fmla="*/ 27624 h 39878"/>
                <a:gd name="connsiteX3" fmla="*/ 50605 w 52841"/>
                <a:gd name="connsiteY3" fmla="*/ 11333 h 39878"/>
                <a:gd name="connsiteX4" fmla="*/ 40064 w 52841"/>
                <a:gd name="connsiteY4" fmla="*/ 2009 h 39878"/>
                <a:gd name="connsiteX5" fmla="*/ 922 w 52841"/>
                <a:gd name="connsiteY5" fmla="*/ 16235 h 3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841" h="39878">
                  <a:moveTo>
                    <a:pt x="922" y="16235"/>
                  </a:moveTo>
                  <a:cubicBezTo>
                    <a:pt x="922" y="16235"/>
                    <a:pt x="-1215" y="38349"/>
                    <a:pt x="922" y="39713"/>
                  </a:cubicBezTo>
                  <a:cubicBezTo>
                    <a:pt x="3060" y="41077"/>
                    <a:pt x="23700" y="33337"/>
                    <a:pt x="37226" y="27624"/>
                  </a:cubicBezTo>
                  <a:cubicBezTo>
                    <a:pt x="50752" y="21911"/>
                    <a:pt x="46256" y="24196"/>
                    <a:pt x="50605" y="11333"/>
                  </a:cubicBezTo>
                  <a:cubicBezTo>
                    <a:pt x="54954" y="-1529"/>
                    <a:pt x="53590" y="-1529"/>
                    <a:pt x="40064" y="2009"/>
                  </a:cubicBezTo>
                  <a:cubicBezTo>
                    <a:pt x="26538" y="5547"/>
                    <a:pt x="922" y="16235"/>
                    <a:pt x="922" y="16235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7" name="Freeform: Shape 255">
              <a:extLst>
                <a:ext uri="{FF2B5EF4-FFF2-40B4-BE49-F238E27FC236}">
                  <a16:creationId xmlns:a16="http://schemas.microsoft.com/office/drawing/2014/main" id="{5005E457-4A56-3A8B-4D07-5A3A8286717A}"/>
                </a:ext>
              </a:extLst>
            </p:cNvPr>
            <p:cNvSpPr/>
            <p:nvPr/>
          </p:nvSpPr>
          <p:spPr>
            <a:xfrm>
              <a:off x="1885920" y="2414506"/>
              <a:ext cx="101944" cy="446961"/>
            </a:xfrm>
            <a:custGeom>
              <a:avLst/>
              <a:gdLst>
                <a:gd name="connsiteX0" fmla="*/ -28 w 101944"/>
                <a:gd name="connsiteY0" fmla="*/ 73595 h 446961"/>
                <a:gd name="connsiteX1" fmla="*/ 15894 w 101944"/>
                <a:gd name="connsiteY1" fmla="*/ 288136 h 446961"/>
                <a:gd name="connsiteX2" fmla="*/ 24150 w 101944"/>
                <a:gd name="connsiteY2" fmla="*/ 442933 h 446961"/>
                <a:gd name="connsiteX3" fmla="*/ 31263 w 101944"/>
                <a:gd name="connsiteY3" fmla="*/ 446803 h 446961"/>
                <a:gd name="connsiteX4" fmla="*/ 77887 w 101944"/>
                <a:gd name="connsiteY4" fmla="*/ 431434 h 446961"/>
                <a:gd name="connsiteX5" fmla="*/ 83931 w 101944"/>
                <a:gd name="connsiteY5" fmla="*/ 409320 h 446961"/>
                <a:gd name="connsiteX6" fmla="*/ 72432 w 101944"/>
                <a:gd name="connsiteY6" fmla="*/ 272141 h 446961"/>
                <a:gd name="connsiteX7" fmla="*/ 101917 w 101944"/>
                <a:gd name="connsiteY7" fmla="*/ 232631 h 446961"/>
                <a:gd name="connsiteX8" fmla="*/ 73906 w 101944"/>
                <a:gd name="connsiteY8" fmla="*/ 84505 h 446961"/>
                <a:gd name="connsiteX9" fmla="*/ 59643 w 101944"/>
                <a:gd name="connsiteY9" fmla="*/ 35670 h 446961"/>
                <a:gd name="connsiteX10" fmla="*/ 378 w 101944"/>
                <a:gd name="connsiteY10" fmla="*/ -7 h 44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944" h="446961">
                  <a:moveTo>
                    <a:pt x="-28" y="73595"/>
                  </a:moveTo>
                  <a:lnTo>
                    <a:pt x="15894" y="288136"/>
                  </a:lnTo>
                  <a:lnTo>
                    <a:pt x="24150" y="442933"/>
                  </a:lnTo>
                  <a:cubicBezTo>
                    <a:pt x="24150" y="442933"/>
                    <a:pt x="26878" y="447872"/>
                    <a:pt x="31263" y="446803"/>
                  </a:cubicBezTo>
                  <a:cubicBezTo>
                    <a:pt x="35649" y="445734"/>
                    <a:pt x="73501" y="436926"/>
                    <a:pt x="77887" y="431434"/>
                  </a:cubicBezTo>
                  <a:cubicBezTo>
                    <a:pt x="82273" y="425942"/>
                    <a:pt x="83931" y="411679"/>
                    <a:pt x="83931" y="409320"/>
                  </a:cubicBezTo>
                  <a:cubicBezTo>
                    <a:pt x="83931" y="406961"/>
                    <a:pt x="72432" y="272141"/>
                    <a:pt x="72432" y="272141"/>
                  </a:cubicBezTo>
                  <a:lnTo>
                    <a:pt x="101917" y="232631"/>
                  </a:lnTo>
                  <a:cubicBezTo>
                    <a:pt x="101917" y="232631"/>
                    <a:pt x="79398" y="109199"/>
                    <a:pt x="73906" y="84505"/>
                  </a:cubicBezTo>
                  <a:cubicBezTo>
                    <a:pt x="68415" y="59811"/>
                    <a:pt x="68451" y="46653"/>
                    <a:pt x="59643" y="35670"/>
                  </a:cubicBezTo>
                  <a:cubicBezTo>
                    <a:pt x="50834" y="24687"/>
                    <a:pt x="378" y="-7"/>
                    <a:pt x="378" y="-7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8" name="Freeform: Shape 256">
              <a:extLst>
                <a:ext uri="{FF2B5EF4-FFF2-40B4-BE49-F238E27FC236}">
                  <a16:creationId xmlns:a16="http://schemas.microsoft.com/office/drawing/2014/main" id="{10399764-FE4F-8938-8FF8-C3467B01EF52}"/>
                </a:ext>
              </a:extLst>
            </p:cNvPr>
            <p:cNvSpPr/>
            <p:nvPr/>
          </p:nvSpPr>
          <p:spPr>
            <a:xfrm>
              <a:off x="1876273" y="2401274"/>
              <a:ext cx="23406" cy="86686"/>
            </a:xfrm>
            <a:custGeom>
              <a:avLst/>
              <a:gdLst>
                <a:gd name="connsiteX0" fmla="*/ 3612 w 23406"/>
                <a:gd name="connsiteY0" fmla="*/ -7 h 86686"/>
                <a:gd name="connsiteX1" fmla="*/ 23367 w 23406"/>
                <a:gd name="connsiteY1" fmla="*/ 32353 h 86686"/>
                <a:gd name="connsiteX2" fmla="*/ 9620 w 23406"/>
                <a:gd name="connsiteY2" fmla="*/ 86679 h 86686"/>
                <a:gd name="connsiteX3" fmla="*/ 1401 w 23406"/>
                <a:gd name="connsiteY3" fmla="*/ 23028 h 86686"/>
                <a:gd name="connsiteX4" fmla="*/ 3612 w 23406"/>
                <a:gd name="connsiteY4" fmla="*/ -7 h 8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06" h="86686">
                  <a:moveTo>
                    <a:pt x="3612" y="-7"/>
                  </a:moveTo>
                  <a:cubicBezTo>
                    <a:pt x="3612" y="-7"/>
                    <a:pt x="23920" y="21370"/>
                    <a:pt x="23367" y="32353"/>
                  </a:cubicBezTo>
                  <a:cubicBezTo>
                    <a:pt x="22815" y="43336"/>
                    <a:pt x="9620" y="86679"/>
                    <a:pt x="9620" y="86679"/>
                  </a:cubicBezTo>
                  <a:lnTo>
                    <a:pt x="1401" y="23028"/>
                  </a:lnTo>
                  <a:cubicBezTo>
                    <a:pt x="1401" y="23028"/>
                    <a:pt x="-2985" y="7364"/>
                    <a:pt x="3612" y="-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9" name="Freeform: Shape 257">
              <a:extLst>
                <a:ext uri="{FF2B5EF4-FFF2-40B4-BE49-F238E27FC236}">
                  <a16:creationId xmlns:a16="http://schemas.microsoft.com/office/drawing/2014/main" id="{B4A5B187-4FBD-96F9-E861-C3631F085E45}"/>
                </a:ext>
              </a:extLst>
            </p:cNvPr>
            <p:cNvSpPr/>
            <p:nvPr/>
          </p:nvSpPr>
          <p:spPr>
            <a:xfrm>
              <a:off x="1811323" y="2349569"/>
              <a:ext cx="77914" cy="128440"/>
            </a:xfrm>
            <a:custGeom>
              <a:avLst/>
              <a:gdLst>
                <a:gd name="connsiteX0" fmla="*/ 1668 w 77914"/>
                <a:gd name="connsiteY0" fmla="*/ 6144 h 128440"/>
                <a:gd name="connsiteX1" fmla="*/ -28 w 77914"/>
                <a:gd name="connsiteY1" fmla="*/ 51035 h 128440"/>
                <a:gd name="connsiteX2" fmla="*/ 24113 w 77914"/>
                <a:gd name="connsiteY2" fmla="*/ 98948 h 128440"/>
                <a:gd name="connsiteX3" fmla="*/ 50429 w 77914"/>
                <a:gd name="connsiteY3" fmla="*/ 128433 h 128440"/>
                <a:gd name="connsiteX4" fmla="*/ 69115 w 77914"/>
                <a:gd name="connsiteY4" fmla="*/ 89476 h 128440"/>
                <a:gd name="connsiteX5" fmla="*/ 69631 w 77914"/>
                <a:gd name="connsiteY5" fmla="*/ 68063 h 128440"/>
                <a:gd name="connsiteX6" fmla="*/ 77887 w 77914"/>
                <a:gd name="connsiteY6" fmla="*/ 47755 h 128440"/>
                <a:gd name="connsiteX7" fmla="*/ 42210 w 77914"/>
                <a:gd name="connsiteY7" fmla="*/ 30764 h 128440"/>
                <a:gd name="connsiteX8" fmla="*/ 4911 w 77914"/>
                <a:gd name="connsiteY8" fmla="*/ 26 h 128440"/>
                <a:gd name="connsiteX9" fmla="*/ 1668 w 77914"/>
                <a:gd name="connsiteY9" fmla="*/ 6144 h 12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914" h="128440">
                  <a:moveTo>
                    <a:pt x="1668" y="6144"/>
                  </a:moveTo>
                  <a:lnTo>
                    <a:pt x="-28" y="51035"/>
                  </a:lnTo>
                  <a:cubicBezTo>
                    <a:pt x="-28" y="51035"/>
                    <a:pt x="14715" y="87891"/>
                    <a:pt x="24113" y="98948"/>
                  </a:cubicBezTo>
                  <a:cubicBezTo>
                    <a:pt x="33512" y="110005"/>
                    <a:pt x="50429" y="128433"/>
                    <a:pt x="50429" y="128433"/>
                  </a:cubicBezTo>
                  <a:lnTo>
                    <a:pt x="69115" y="89476"/>
                  </a:lnTo>
                  <a:lnTo>
                    <a:pt x="69631" y="68063"/>
                  </a:lnTo>
                  <a:lnTo>
                    <a:pt x="77887" y="47755"/>
                  </a:lnTo>
                  <a:cubicBezTo>
                    <a:pt x="64891" y="44777"/>
                    <a:pt x="52710" y="38975"/>
                    <a:pt x="42210" y="30764"/>
                  </a:cubicBezTo>
                  <a:cubicBezTo>
                    <a:pt x="24666" y="17053"/>
                    <a:pt x="6533" y="578"/>
                    <a:pt x="4911" y="26"/>
                  </a:cubicBezTo>
                  <a:cubicBezTo>
                    <a:pt x="3289" y="-527"/>
                    <a:pt x="1668" y="6144"/>
                    <a:pt x="1668" y="6144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0" name="Freeform: Shape 258">
              <a:extLst>
                <a:ext uri="{FF2B5EF4-FFF2-40B4-BE49-F238E27FC236}">
                  <a16:creationId xmlns:a16="http://schemas.microsoft.com/office/drawing/2014/main" id="{95BB94DE-2795-0F58-9BD0-100E20AC8CF6}"/>
                </a:ext>
              </a:extLst>
            </p:cNvPr>
            <p:cNvSpPr/>
            <p:nvPr/>
          </p:nvSpPr>
          <p:spPr>
            <a:xfrm>
              <a:off x="1824075" y="2368104"/>
              <a:ext cx="65235" cy="53073"/>
            </a:xfrm>
            <a:custGeom>
              <a:avLst/>
              <a:gdLst>
                <a:gd name="connsiteX0" fmla="*/ -28 w 65235"/>
                <a:gd name="connsiteY0" fmla="*/ 3679 h 53073"/>
                <a:gd name="connsiteX1" fmla="*/ 34838 w 65235"/>
                <a:gd name="connsiteY1" fmla="*/ 41714 h 53073"/>
                <a:gd name="connsiteX2" fmla="*/ 56952 w 65235"/>
                <a:gd name="connsiteY2" fmla="*/ 53066 h 53073"/>
                <a:gd name="connsiteX3" fmla="*/ 56952 w 65235"/>
                <a:gd name="connsiteY3" fmla="*/ 49675 h 53073"/>
                <a:gd name="connsiteX4" fmla="*/ 65208 w 65235"/>
                <a:gd name="connsiteY4" fmla="*/ 29368 h 53073"/>
                <a:gd name="connsiteX5" fmla="*/ 29531 w 65235"/>
                <a:gd name="connsiteY5" fmla="*/ 12377 h 53073"/>
                <a:gd name="connsiteX6" fmla="*/ 16337 w 65235"/>
                <a:gd name="connsiteY6" fmla="*/ 1725 h 53073"/>
                <a:gd name="connsiteX7" fmla="*/ 10587 w 65235"/>
                <a:gd name="connsiteY7" fmla="*/ -7 h 53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235" h="53073">
                  <a:moveTo>
                    <a:pt x="-28" y="3679"/>
                  </a:moveTo>
                  <a:cubicBezTo>
                    <a:pt x="-28" y="3679"/>
                    <a:pt x="4727" y="21112"/>
                    <a:pt x="34838" y="41714"/>
                  </a:cubicBezTo>
                  <a:cubicBezTo>
                    <a:pt x="41638" y="46524"/>
                    <a:pt x="49083" y="50346"/>
                    <a:pt x="56952" y="53066"/>
                  </a:cubicBezTo>
                  <a:lnTo>
                    <a:pt x="56952" y="49675"/>
                  </a:lnTo>
                  <a:lnTo>
                    <a:pt x="65208" y="29368"/>
                  </a:lnTo>
                  <a:cubicBezTo>
                    <a:pt x="52213" y="26390"/>
                    <a:pt x="40032" y="20588"/>
                    <a:pt x="29531" y="12377"/>
                  </a:cubicBezTo>
                  <a:cubicBezTo>
                    <a:pt x="25071" y="8875"/>
                    <a:pt x="20612" y="5227"/>
                    <a:pt x="16337" y="1725"/>
                  </a:cubicBezTo>
                  <a:lnTo>
                    <a:pt x="10587" y="-7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1" name="Freeform: Shape 259">
              <a:extLst>
                <a:ext uri="{FF2B5EF4-FFF2-40B4-BE49-F238E27FC236}">
                  <a16:creationId xmlns:a16="http://schemas.microsoft.com/office/drawing/2014/main" id="{4CC4F06B-4ADE-BF50-8D7F-3CAB8ED9C1F6}"/>
                </a:ext>
              </a:extLst>
            </p:cNvPr>
            <p:cNvSpPr/>
            <p:nvPr/>
          </p:nvSpPr>
          <p:spPr>
            <a:xfrm>
              <a:off x="1803178" y="2226152"/>
              <a:ext cx="131466" cy="179032"/>
            </a:xfrm>
            <a:custGeom>
              <a:avLst/>
              <a:gdLst>
                <a:gd name="connsiteX0" fmla="*/ 131439 w 131466"/>
                <a:gd name="connsiteY0" fmla="*/ 33587 h 179032"/>
                <a:gd name="connsiteX1" fmla="*/ 128159 w 131466"/>
                <a:gd name="connsiteY1" fmla="*/ 95395 h 179032"/>
                <a:gd name="connsiteX2" fmla="*/ 118945 w 131466"/>
                <a:gd name="connsiteY2" fmla="*/ 139438 h 179032"/>
                <a:gd name="connsiteX3" fmla="*/ 91339 w 131466"/>
                <a:gd name="connsiteY3" fmla="*/ 178211 h 179032"/>
                <a:gd name="connsiteX4" fmla="*/ 45342 w 131466"/>
                <a:gd name="connsiteY4" fmla="*/ 169660 h 179032"/>
                <a:gd name="connsiteX5" fmla="*/ 9813 w 131466"/>
                <a:gd name="connsiteY5" fmla="*/ 129561 h 179032"/>
                <a:gd name="connsiteX6" fmla="*/ 7860 w 131466"/>
                <a:gd name="connsiteY6" fmla="*/ 121010 h 179032"/>
                <a:gd name="connsiteX7" fmla="*/ -28 w 131466"/>
                <a:gd name="connsiteY7" fmla="*/ 52641 h 179032"/>
                <a:gd name="connsiteX8" fmla="*/ 35465 w 131466"/>
                <a:gd name="connsiteY8" fmla="*/ 2037 h 179032"/>
                <a:gd name="connsiteX9" fmla="*/ 131439 w 131466"/>
                <a:gd name="connsiteY9" fmla="*/ 33587 h 17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466" h="179032">
                  <a:moveTo>
                    <a:pt x="131439" y="33587"/>
                  </a:moveTo>
                  <a:cubicBezTo>
                    <a:pt x="131439" y="33587"/>
                    <a:pt x="129486" y="79583"/>
                    <a:pt x="128159" y="95395"/>
                  </a:cubicBezTo>
                  <a:cubicBezTo>
                    <a:pt x="126832" y="111206"/>
                    <a:pt x="126168" y="124880"/>
                    <a:pt x="118945" y="139438"/>
                  </a:cubicBezTo>
                  <a:cubicBezTo>
                    <a:pt x="111721" y="153996"/>
                    <a:pt x="103834" y="176295"/>
                    <a:pt x="91339" y="178211"/>
                  </a:cubicBezTo>
                  <a:cubicBezTo>
                    <a:pt x="75480" y="180632"/>
                    <a:pt x="59270" y="177618"/>
                    <a:pt x="45342" y="169660"/>
                  </a:cubicBezTo>
                  <a:cubicBezTo>
                    <a:pt x="30194" y="160446"/>
                    <a:pt x="10476" y="134831"/>
                    <a:pt x="9813" y="129561"/>
                  </a:cubicBezTo>
                  <a:cubicBezTo>
                    <a:pt x="9507" y="126642"/>
                    <a:pt x="8851" y="123770"/>
                    <a:pt x="7860" y="121010"/>
                  </a:cubicBezTo>
                  <a:cubicBezTo>
                    <a:pt x="7860" y="121010"/>
                    <a:pt x="-28" y="73686"/>
                    <a:pt x="-28" y="52641"/>
                  </a:cubicBezTo>
                  <a:cubicBezTo>
                    <a:pt x="-28" y="31596"/>
                    <a:pt x="1926" y="13868"/>
                    <a:pt x="35465" y="2037"/>
                  </a:cubicBezTo>
                  <a:cubicBezTo>
                    <a:pt x="69004" y="-9794"/>
                    <a:pt x="131439" y="33587"/>
                    <a:pt x="131439" y="3358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2" name="Freeform: Shape 260">
              <a:extLst>
                <a:ext uri="{FF2B5EF4-FFF2-40B4-BE49-F238E27FC236}">
                  <a16:creationId xmlns:a16="http://schemas.microsoft.com/office/drawing/2014/main" id="{98B0AD1B-129E-ED07-A3C8-1179571C8D2F}"/>
                </a:ext>
              </a:extLst>
            </p:cNvPr>
            <p:cNvSpPr/>
            <p:nvPr/>
          </p:nvSpPr>
          <p:spPr>
            <a:xfrm>
              <a:off x="1778223" y="2194277"/>
              <a:ext cx="182127" cy="124497"/>
            </a:xfrm>
            <a:custGeom>
              <a:avLst/>
              <a:gdLst>
                <a:gd name="connsiteX0" fmla="*/ 46599 w 182127"/>
                <a:gd name="connsiteY0" fmla="*/ 65462 h 124497"/>
                <a:gd name="connsiteX1" fmla="*/ 56476 w 182127"/>
                <a:gd name="connsiteY1" fmla="*/ 79910 h 124497"/>
                <a:gd name="connsiteX2" fmla="*/ 36095 w 182127"/>
                <a:gd name="connsiteY2" fmla="*/ 99628 h 124497"/>
                <a:gd name="connsiteX3" fmla="*/ 38085 w 182127"/>
                <a:gd name="connsiteY3" fmla="*/ 118056 h 124497"/>
                <a:gd name="connsiteX4" fmla="*/ 25591 w 182127"/>
                <a:gd name="connsiteY4" fmla="*/ 122000 h 124497"/>
                <a:gd name="connsiteX5" fmla="*/ 17040 w 182127"/>
                <a:gd name="connsiteY5" fmla="*/ 112786 h 124497"/>
                <a:gd name="connsiteX6" fmla="*/ 1929 w 182127"/>
                <a:gd name="connsiteY6" fmla="*/ 62182 h 124497"/>
                <a:gd name="connsiteX7" fmla="*/ 12986 w 182127"/>
                <a:gd name="connsiteY7" fmla="*/ 27979 h 124497"/>
                <a:gd name="connsiteX8" fmla="*/ 32704 w 182127"/>
                <a:gd name="connsiteY8" fmla="*/ 15485 h 124497"/>
                <a:gd name="connsiteX9" fmla="*/ 98456 w 182127"/>
                <a:gd name="connsiteY9" fmla="*/ 374 h 124497"/>
                <a:gd name="connsiteX10" fmla="*/ 153740 w 182127"/>
                <a:gd name="connsiteY10" fmla="*/ 25362 h 124497"/>
                <a:gd name="connsiteX11" fmla="*/ 182009 w 182127"/>
                <a:gd name="connsiteY11" fmla="*/ 39147 h 124497"/>
                <a:gd name="connsiteX12" fmla="*/ 146517 w 182127"/>
                <a:gd name="connsiteY12" fmla="*/ 74013 h 124497"/>
                <a:gd name="connsiteX13" fmla="*/ 59720 w 182127"/>
                <a:gd name="connsiteY13" fmla="*/ 46407 h 124497"/>
                <a:gd name="connsiteX14" fmla="*/ 46599 w 182127"/>
                <a:gd name="connsiteY14" fmla="*/ 65462 h 12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2127" h="124497">
                  <a:moveTo>
                    <a:pt x="46599" y="65462"/>
                  </a:moveTo>
                  <a:cubicBezTo>
                    <a:pt x="46599" y="65462"/>
                    <a:pt x="66980" y="70732"/>
                    <a:pt x="56476" y="79910"/>
                  </a:cubicBezTo>
                  <a:cubicBezTo>
                    <a:pt x="45972" y="89087"/>
                    <a:pt x="36095" y="99628"/>
                    <a:pt x="36095" y="99628"/>
                  </a:cubicBezTo>
                  <a:cubicBezTo>
                    <a:pt x="36095" y="99628"/>
                    <a:pt x="39375" y="112786"/>
                    <a:pt x="38085" y="118056"/>
                  </a:cubicBezTo>
                  <a:cubicBezTo>
                    <a:pt x="36795" y="123327"/>
                    <a:pt x="30198" y="127270"/>
                    <a:pt x="25591" y="122000"/>
                  </a:cubicBezTo>
                  <a:cubicBezTo>
                    <a:pt x="20984" y="116729"/>
                    <a:pt x="17040" y="112786"/>
                    <a:pt x="17040" y="112786"/>
                  </a:cubicBezTo>
                  <a:cubicBezTo>
                    <a:pt x="17040" y="112786"/>
                    <a:pt x="4546" y="73349"/>
                    <a:pt x="1929" y="62182"/>
                  </a:cubicBezTo>
                  <a:cubicBezTo>
                    <a:pt x="-688" y="51014"/>
                    <a:pt x="-3342" y="39147"/>
                    <a:pt x="12986" y="27979"/>
                  </a:cubicBezTo>
                  <a:cubicBezTo>
                    <a:pt x="19262" y="23368"/>
                    <a:pt x="25852" y="19192"/>
                    <a:pt x="32704" y="15485"/>
                  </a:cubicBezTo>
                  <a:cubicBezTo>
                    <a:pt x="52525" y="3750"/>
                    <a:pt x="75502" y="-1532"/>
                    <a:pt x="98456" y="374"/>
                  </a:cubicBezTo>
                  <a:cubicBezTo>
                    <a:pt x="136565" y="3654"/>
                    <a:pt x="153740" y="25362"/>
                    <a:pt x="153740" y="25362"/>
                  </a:cubicBezTo>
                  <a:cubicBezTo>
                    <a:pt x="153740" y="25362"/>
                    <a:pt x="183963" y="17475"/>
                    <a:pt x="182009" y="39147"/>
                  </a:cubicBezTo>
                  <a:cubicBezTo>
                    <a:pt x="180056" y="60818"/>
                    <a:pt x="158347" y="75303"/>
                    <a:pt x="146517" y="74013"/>
                  </a:cubicBezTo>
                  <a:cubicBezTo>
                    <a:pt x="134686" y="72723"/>
                    <a:pt x="72214" y="41137"/>
                    <a:pt x="59720" y="46407"/>
                  </a:cubicBezTo>
                  <a:cubicBezTo>
                    <a:pt x="47225" y="51678"/>
                    <a:pt x="38011" y="63472"/>
                    <a:pt x="46599" y="65462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3" name="Freeform: Shape 261">
              <a:extLst>
                <a:ext uri="{FF2B5EF4-FFF2-40B4-BE49-F238E27FC236}">
                  <a16:creationId xmlns:a16="http://schemas.microsoft.com/office/drawing/2014/main" id="{5F11AB67-BEFD-EB9E-8F48-6DBF4434057F}"/>
                </a:ext>
              </a:extLst>
            </p:cNvPr>
            <p:cNvSpPr/>
            <p:nvPr/>
          </p:nvSpPr>
          <p:spPr>
            <a:xfrm>
              <a:off x="1893881" y="2308396"/>
              <a:ext cx="13627" cy="36819"/>
            </a:xfrm>
            <a:custGeom>
              <a:avLst/>
              <a:gdLst>
                <a:gd name="connsiteX0" fmla="*/ 6570 w 13627"/>
                <a:gd name="connsiteY0" fmla="*/ -7 h 36819"/>
                <a:gd name="connsiteX1" fmla="*/ 13130 w 13627"/>
                <a:gd name="connsiteY1" fmla="*/ 32205 h 36819"/>
                <a:gd name="connsiteX2" fmla="*/ -28 w 13627"/>
                <a:gd name="connsiteY2" fmla="*/ 36813 h 36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27" h="36819">
                  <a:moveTo>
                    <a:pt x="6570" y="-7"/>
                  </a:moveTo>
                  <a:cubicBezTo>
                    <a:pt x="6570" y="-7"/>
                    <a:pt x="15747" y="29478"/>
                    <a:pt x="13130" y="32205"/>
                  </a:cubicBezTo>
                  <a:cubicBezTo>
                    <a:pt x="10513" y="34933"/>
                    <a:pt x="-28" y="36813"/>
                    <a:pt x="-28" y="36813"/>
                  </a:cubicBezTo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4" name="Freeform: Shape 262">
              <a:extLst>
                <a:ext uri="{FF2B5EF4-FFF2-40B4-BE49-F238E27FC236}">
                  <a16:creationId xmlns:a16="http://schemas.microsoft.com/office/drawing/2014/main" id="{1E0C3A60-D850-4D9A-76C8-4A6E910D217D}"/>
                </a:ext>
              </a:extLst>
            </p:cNvPr>
            <p:cNvSpPr/>
            <p:nvPr/>
          </p:nvSpPr>
          <p:spPr>
            <a:xfrm>
              <a:off x="1869519" y="2353766"/>
              <a:ext cx="36856" cy="5696"/>
            </a:xfrm>
            <a:custGeom>
              <a:avLst/>
              <a:gdLst>
                <a:gd name="connsiteX0" fmla="*/ 36829 w 36856"/>
                <a:gd name="connsiteY0" fmla="*/ 3937 h 5696"/>
                <a:gd name="connsiteX1" fmla="*/ -28 w 36856"/>
                <a:gd name="connsiteY1" fmla="*/ -7 h 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856" h="5696">
                  <a:moveTo>
                    <a:pt x="36829" y="3937"/>
                  </a:moveTo>
                  <a:cubicBezTo>
                    <a:pt x="36829" y="3937"/>
                    <a:pt x="15784" y="9834"/>
                    <a:pt x="-28" y="-7"/>
                  </a:cubicBezTo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5" name="Freeform: Shape 263">
              <a:extLst>
                <a:ext uri="{FF2B5EF4-FFF2-40B4-BE49-F238E27FC236}">
                  <a16:creationId xmlns:a16="http://schemas.microsoft.com/office/drawing/2014/main" id="{7E717208-64CB-46AF-51F2-A6D872A3C2B2}"/>
                </a:ext>
              </a:extLst>
            </p:cNvPr>
            <p:cNvSpPr/>
            <p:nvPr/>
          </p:nvSpPr>
          <p:spPr>
            <a:xfrm>
              <a:off x="1829039" y="2287137"/>
              <a:ext cx="62999" cy="39497"/>
            </a:xfrm>
            <a:custGeom>
              <a:avLst/>
              <a:gdLst>
                <a:gd name="connsiteX0" fmla="*/ 62972 w 62999"/>
                <a:gd name="connsiteY0" fmla="*/ 2825 h 39497"/>
                <a:gd name="connsiteX1" fmla="*/ 20771 w 62999"/>
                <a:gd name="connsiteY1" fmla="*/ 208 h 39497"/>
                <a:gd name="connsiteX2" fmla="*/ 390 w 62999"/>
                <a:gd name="connsiteY2" fmla="*/ 2825 h 39497"/>
                <a:gd name="connsiteX3" fmla="*/ 9604 w 62999"/>
                <a:gd name="connsiteY3" fmla="*/ 35037 h 39497"/>
                <a:gd name="connsiteX4" fmla="*/ 49704 w 62999"/>
                <a:gd name="connsiteY4" fmla="*/ 37027 h 39497"/>
                <a:gd name="connsiteX5" fmla="*/ 61535 w 62999"/>
                <a:gd name="connsiteY5" fmla="*/ 15982 h 39497"/>
                <a:gd name="connsiteX6" fmla="*/ 62972 w 62999"/>
                <a:gd name="connsiteY6" fmla="*/ 2825 h 39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999" h="39497">
                  <a:moveTo>
                    <a:pt x="62972" y="2825"/>
                  </a:moveTo>
                  <a:cubicBezTo>
                    <a:pt x="62972" y="2825"/>
                    <a:pt x="35256" y="208"/>
                    <a:pt x="20771" y="208"/>
                  </a:cubicBezTo>
                  <a:cubicBezTo>
                    <a:pt x="6287" y="208"/>
                    <a:pt x="1053" y="-1119"/>
                    <a:pt x="390" y="2825"/>
                  </a:cubicBezTo>
                  <a:cubicBezTo>
                    <a:pt x="-274" y="6768"/>
                    <a:pt x="-1564" y="27813"/>
                    <a:pt x="9604" y="35037"/>
                  </a:cubicBezTo>
                  <a:cubicBezTo>
                    <a:pt x="20771" y="42261"/>
                    <a:pt x="41153" y="38981"/>
                    <a:pt x="49704" y="37027"/>
                  </a:cubicBezTo>
                  <a:cubicBezTo>
                    <a:pt x="58254" y="35074"/>
                    <a:pt x="60760" y="20589"/>
                    <a:pt x="61535" y="15982"/>
                  </a:cubicBezTo>
                  <a:cubicBezTo>
                    <a:pt x="62309" y="11375"/>
                    <a:pt x="62972" y="2825"/>
                    <a:pt x="62972" y="2825"/>
                  </a:cubicBezTo>
                  <a:close/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eform: Shape 264">
              <a:extLst>
                <a:ext uri="{FF2B5EF4-FFF2-40B4-BE49-F238E27FC236}">
                  <a16:creationId xmlns:a16="http://schemas.microsoft.com/office/drawing/2014/main" id="{223690DF-C5A0-1887-AC8D-E0BDD3B6B7B8}"/>
                </a:ext>
              </a:extLst>
            </p:cNvPr>
            <p:cNvSpPr/>
            <p:nvPr/>
          </p:nvSpPr>
          <p:spPr>
            <a:xfrm>
              <a:off x="1900184" y="2289086"/>
              <a:ext cx="49976" cy="37704"/>
            </a:xfrm>
            <a:custGeom>
              <a:avLst/>
              <a:gdLst>
                <a:gd name="connsiteX0" fmla="*/ -28 w 49976"/>
                <a:gd name="connsiteY0" fmla="*/ 949 h 37704"/>
                <a:gd name="connsiteX1" fmla="*/ 33475 w 49976"/>
                <a:gd name="connsiteY1" fmla="*/ 138 h 37704"/>
                <a:gd name="connsiteX2" fmla="*/ 49618 w 49976"/>
                <a:gd name="connsiteY2" fmla="*/ 3529 h 37704"/>
                <a:gd name="connsiteX3" fmla="*/ 42247 w 49976"/>
                <a:gd name="connsiteY3" fmla="*/ 34156 h 37704"/>
                <a:gd name="connsiteX4" fmla="*/ 10403 w 49976"/>
                <a:gd name="connsiteY4" fmla="*/ 34414 h 37704"/>
                <a:gd name="connsiteX5" fmla="*/ 1041 w 49976"/>
                <a:gd name="connsiteY5" fmla="*/ 13664 h 37704"/>
                <a:gd name="connsiteX6" fmla="*/ -28 w 49976"/>
                <a:gd name="connsiteY6" fmla="*/ 949 h 37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976" h="37704">
                  <a:moveTo>
                    <a:pt x="-28" y="949"/>
                  </a:moveTo>
                  <a:cubicBezTo>
                    <a:pt x="-28" y="949"/>
                    <a:pt x="22086" y="-452"/>
                    <a:pt x="33475" y="138"/>
                  </a:cubicBezTo>
                  <a:cubicBezTo>
                    <a:pt x="44863" y="728"/>
                    <a:pt x="49102" y="-304"/>
                    <a:pt x="49618" y="3529"/>
                  </a:cubicBezTo>
                  <a:cubicBezTo>
                    <a:pt x="50134" y="7362"/>
                    <a:pt x="51203" y="27670"/>
                    <a:pt x="42247" y="34156"/>
                  </a:cubicBezTo>
                  <a:cubicBezTo>
                    <a:pt x="33290" y="40643"/>
                    <a:pt x="17221" y="36663"/>
                    <a:pt x="10403" y="34414"/>
                  </a:cubicBezTo>
                  <a:cubicBezTo>
                    <a:pt x="3584" y="32166"/>
                    <a:pt x="1557" y="18124"/>
                    <a:pt x="1041" y="13664"/>
                  </a:cubicBezTo>
                  <a:cubicBezTo>
                    <a:pt x="525" y="9205"/>
                    <a:pt x="-28" y="949"/>
                    <a:pt x="-28" y="949"/>
                  </a:cubicBezTo>
                  <a:close/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eform: Shape 265">
              <a:extLst>
                <a:ext uri="{FF2B5EF4-FFF2-40B4-BE49-F238E27FC236}">
                  <a16:creationId xmlns:a16="http://schemas.microsoft.com/office/drawing/2014/main" id="{2265EFB9-0285-185C-41D5-A05973CC43F5}"/>
                </a:ext>
              </a:extLst>
            </p:cNvPr>
            <p:cNvSpPr/>
            <p:nvPr/>
          </p:nvSpPr>
          <p:spPr>
            <a:xfrm>
              <a:off x="1795290" y="2289968"/>
              <a:ext cx="34202" cy="17101"/>
            </a:xfrm>
            <a:custGeom>
              <a:avLst/>
              <a:gdLst>
                <a:gd name="connsiteX0" fmla="*/ 34203 w 34202"/>
                <a:gd name="connsiteY0" fmla="*/ 0 h 17101"/>
                <a:gd name="connsiteX1" fmla="*/ 0 w 34202"/>
                <a:gd name="connsiteY1" fmla="*/ 17101 h 17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202" h="17101">
                  <a:moveTo>
                    <a:pt x="34203" y="0"/>
                  </a:moveTo>
                  <a:lnTo>
                    <a:pt x="0" y="17101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eform: Shape 266">
              <a:extLst>
                <a:ext uri="{FF2B5EF4-FFF2-40B4-BE49-F238E27FC236}">
                  <a16:creationId xmlns:a16="http://schemas.microsoft.com/office/drawing/2014/main" id="{4F6FB01A-F018-2BCC-345F-EAD8103B87BD}"/>
                </a:ext>
              </a:extLst>
            </p:cNvPr>
            <p:cNvSpPr/>
            <p:nvPr/>
          </p:nvSpPr>
          <p:spPr>
            <a:xfrm>
              <a:off x="1892038" y="2289968"/>
              <a:ext cx="8845" cy="3685"/>
            </a:xfrm>
            <a:custGeom>
              <a:avLst/>
              <a:gdLst>
                <a:gd name="connsiteX0" fmla="*/ 0 w 8845"/>
                <a:gd name="connsiteY0" fmla="*/ 0 h 3685"/>
                <a:gd name="connsiteX1" fmla="*/ 8846 w 8845"/>
                <a:gd name="connsiteY1" fmla="*/ 0 h 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45" h="3685">
                  <a:moveTo>
                    <a:pt x="0" y="0"/>
                  </a:moveTo>
                  <a:lnTo>
                    <a:pt x="8846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eform: Shape 267">
              <a:extLst>
                <a:ext uri="{FF2B5EF4-FFF2-40B4-BE49-F238E27FC236}">
                  <a16:creationId xmlns:a16="http://schemas.microsoft.com/office/drawing/2014/main" id="{BEE4EF32-BD2B-4C7E-2E27-D9319375F77B}"/>
                </a:ext>
              </a:extLst>
            </p:cNvPr>
            <p:cNvSpPr/>
            <p:nvPr/>
          </p:nvSpPr>
          <p:spPr>
            <a:xfrm>
              <a:off x="1783773" y="2306823"/>
              <a:ext cx="30572" cy="36819"/>
            </a:xfrm>
            <a:custGeom>
              <a:avLst/>
              <a:gdLst>
                <a:gd name="connsiteX0" fmla="*/ 30544 w 30572"/>
                <a:gd name="connsiteY0" fmla="*/ 16678 h 36819"/>
                <a:gd name="connsiteX1" fmla="*/ 4745 w 30572"/>
                <a:gd name="connsiteY1" fmla="*/ 240 h 36819"/>
                <a:gd name="connsiteX2" fmla="*/ 12116 w 30572"/>
                <a:gd name="connsiteY2" fmla="*/ 35069 h 36819"/>
                <a:gd name="connsiteX3" fmla="*/ 29844 w 30572"/>
                <a:gd name="connsiteY3" fmla="*/ 33779 h 36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572" h="36819">
                  <a:moveTo>
                    <a:pt x="30544" y="16678"/>
                  </a:moveTo>
                  <a:cubicBezTo>
                    <a:pt x="30544" y="16678"/>
                    <a:pt x="15433" y="-2377"/>
                    <a:pt x="4745" y="240"/>
                  </a:cubicBezTo>
                  <a:cubicBezTo>
                    <a:pt x="-5943" y="2857"/>
                    <a:pt x="3455" y="30499"/>
                    <a:pt x="12116" y="35069"/>
                  </a:cubicBezTo>
                  <a:cubicBezTo>
                    <a:pt x="20777" y="39639"/>
                    <a:pt x="29844" y="33779"/>
                    <a:pt x="29844" y="33779"/>
                  </a:cubicBezTo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eform: Shape 268">
              <a:extLst>
                <a:ext uri="{FF2B5EF4-FFF2-40B4-BE49-F238E27FC236}">
                  <a16:creationId xmlns:a16="http://schemas.microsoft.com/office/drawing/2014/main" id="{B6961331-035A-D81C-715A-FF550E376C80}"/>
                </a:ext>
              </a:extLst>
            </p:cNvPr>
            <p:cNvSpPr/>
            <p:nvPr/>
          </p:nvSpPr>
          <p:spPr>
            <a:xfrm>
              <a:off x="1859900" y="2300730"/>
              <a:ext cx="7371" cy="13710"/>
            </a:xfrm>
            <a:custGeom>
              <a:avLst/>
              <a:gdLst>
                <a:gd name="connsiteX0" fmla="*/ 7344 w 7371"/>
                <a:gd name="connsiteY0" fmla="*/ 6848 h 13710"/>
                <a:gd name="connsiteX1" fmla="*/ 3658 w 7371"/>
                <a:gd name="connsiteY1" fmla="*/ 13704 h 13710"/>
                <a:gd name="connsiteX2" fmla="*/ -28 w 7371"/>
                <a:gd name="connsiteY2" fmla="*/ 6848 h 13710"/>
                <a:gd name="connsiteX3" fmla="*/ 3658 w 7371"/>
                <a:gd name="connsiteY3" fmla="*/ -7 h 13710"/>
                <a:gd name="connsiteX4" fmla="*/ 7344 w 7371"/>
                <a:gd name="connsiteY4" fmla="*/ 6848 h 1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71" h="13710">
                  <a:moveTo>
                    <a:pt x="7344" y="6848"/>
                  </a:moveTo>
                  <a:cubicBezTo>
                    <a:pt x="7344" y="10534"/>
                    <a:pt x="5759" y="13704"/>
                    <a:pt x="3658" y="13704"/>
                  </a:cubicBezTo>
                  <a:cubicBezTo>
                    <a:pt x="1557" y="13704"/>
                    <a:pt x="-28" y="10644"/>
                    <a:pt x="-28" y="6848"/>
                  </a:cubicBezTo>
                  <a:cubicBezTo>
                    <a:pt x="-28" y="3052"/>
                    <a:pt x="1557" y="-7"/>
                    <a:pt x="3658" y="-7"/>
                  </a:cubicBezTo>
                  <a:cubicBezTo>
                    <a:pt x="5759" y="-7"/>
                    <a:pt x="7344" y="3052"/>
                    <a:pt x="7344" y="6848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Freeform: Shape 269">
              <a:extLst>
                <a:ext uri="{FF2B5EF4-FFF2-40B4-BE49-F238E27FC236}">
                  <a16:creationId xmlns:a16="http://schemas.microsoft.com/office/drawing/2014/main" id="{5BECC4A3-D02F-48FD-60A2-1A37FCCD2D43}"/>
                </a:ext>
              </a:extLst>
            </p:cNvPr>
            <p:cNvSpPr/>
            <p:nvPr/>
          </p:nvSpPr>
          <p:spPr>
            <a:xfrm>
              <a:off x="1912825" y="2300730"/>
              <a:ext cx="7150" cy="13710"/>
            </a:xfrm>
            <a:custGeom>
              <a:avLst/>
              <a:gdLst>
                <a:gd name="connsiteX0" fmla="*/ 7150 w 7150"/>
                <a:gd name="connsiteY0" fmla="*/ 6855 h 13710"/>
                <a:gd name="connsiteX1" fmla="*/ 3575 w 7150"/>
                <a:gd name="connsiteY1" fmla="*/ 13711 h 13710"/>
                <a:gd name="connsiteX2" fmla="*/ 0 w 7150"/>
                <a:gd name="connsiteY2" fmla="*/ 6855 h 13710"/>
                <a:gd name="connsiteX3" fmla="*/ 3575 w 7150"/>
                <a:gd name="connsiteY3" fmla="*/ 0 h 13710"/>
                <a:gd name="connsiteX4" fmla="*/ 7150 w 7150"/>
                <a:gd name="connsiteY4" fmla="*/ 6855 h 1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0" h="13710">
                  <a:moveTo>
                    <a:pt x="7150" y="6855"/>
                  </a:moveTo>
                  <a:cubicBezTo>
                    <a:pt x="7150" y="10641"/>
                    <a:pt x="5549" y="13711"/>
                    <a:pt x="3575" y="13711"/>
                  </a:cubicBezTo>
                  <a:cubicBezTo>
                    <a:pt x="1601" y="13711"/>
                    <a:pt x="0" y="10641"/>
                    <a:pt x="0" y="6855"/>
                  </a:cubicBezTo>
                  <a:cubicBezTo>
                    <a:pt x="0" y="3069"/>
                    <a:pt x="1601" y="0"/>
                    <a:pt x="3575" y="0"/>
                  </a:cubicBezTo>
                  <a:cubicBezTo>
                    <a:pt x="5549" y="0"/>
                    <a:pt x="7150" y="3069"/>
                    <a:pt x="7150" y="6855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Freeform: Shape 270">
              <a:extLst>
                <a:ext uri="{FF2B5EF4-FFF2-40B4-BE49-F238E27FC236}">
                  <a16:creationId xmlns:a16="http://schemas.microsoft.com/office/drawing/2014/main" id="{C717CDD9-77D5-81FB-1689-E31734E98F19}"/>
                </a:ext>
              </a:extLst>
            </p:cNvPr>
            <p:cNvSpPr/>
            <p:nvPr/>
          </p:nvSpPr>
          <p:spPr>
            <a:xfrm>
              <a:off x="1848069" y="2281499"/>
              <a:ext cx="33465" cy="2903"/>
            </a:xfrm>
            <a:custGeom>
              <a:avLst/>
              <a:gdLst>
                <a:gd name="connsiteX0" fmla="*/ -28 w 33465"/>
                <a:gd name="connsiteY0" fmla="*/ 1828 h 2903"/>
                <a:gd name="connsiteX1" fmla="*/ 33438 w 33465"/>
                <a:gd name="connsiteY1" fmla="*/ 2897 h 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65" h="2903">
                  <a:moveTo>
                    <a:pt x="-28" y="1828"/>
                  </a:moveTo>
                  <a:cubicBezTo>
                    <a:pt x="11011" y="-940"/>
                    <a:pt x="22598" y="-571"/>
                    <a:pt x="33438" y="2897"/>
                  </a:cubicBezTo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1" name="Freeform: Shape 271">
              <a:extLst>
                <a:ext uri="{FF2B5EF4-FFF2-40B4-BE49-F238E27FC236}">
                  <a16:creationId xmlns:a16="http://schemas.microsoft.com/office/drawing/2014/main" id="{872F68AF-703B-2ABC-5439-D58C04D61D70}"/>
                </a:ext>
              </a:extLst>
            </p:cNvPr>
            <p:cNvSpPr/>
            <p:nvPr/>
          </p:nvSpPr>
          <p:spPr>
            <a:xfrm>
              <a:off x="1908403" y="2281884"/>
              <a:ext cx="20307" cy="2924"/>
            </a:xfrm>
            <a:custGeom>
              <a:avLst/>
              <a:gdLst>
                <a:gd name="connsiteX0" fmla="*/ -28 w 20307"/>
                <a:gd name="connsiteY0" fmla="*/ 2917 h 2924"/>
                <a:gd name="connsiteX1" fmla="*/ 20280 w 20307"/>
                <a:gd name="connsiteY1" fmla="*/ 743 h 2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307" h="2924">
                  <a:moveTo>
                    <a:pt x="-28" y="2917"/>
                  </a:moveTo>
                  <a:cubicBezTo>
                    <a:pt x="6326" y="6"/>
                    <a:pt x="13454" y="-757"/>
                    <a:pt x="20280" y="743"/>
                  </a:cubicBezTo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2" name="Freeform: Shape 272">
              <a:extLst>
                <a:ext uri="{FF2B5EF4-FFF2-40B4-BE49-F238E27FC236}">
                  <a16:creationId xmlns:a16="http://schemas.microsoft.com/office/drawing/2014/main" id="{E8576E09-76B3-F8AA-FDA4-5EA6EE39A231}"/>
                </a:ext>
              </a:extLst>
            </p:cNvPr>
            <p:cNvSpPr/>
            <p:nvPr/>
          </p:nvSpPr>
          <p:spPr>
            <a:xfrm>
              <a:off x="1686629" y="2803436"/>
              <a:ext cx="162766" cy="78521"/>
            </a:xfrm>
            <a:custGeom>
              <a:avLst/>
              <a:gdLst>
                <a:gd name="connsiteX0" fmla="*/ 161965 w 162766"/>
                <a:gd name="connsiteY0" fmla="*/ 62996 h 78521"/>
                <a:gd name="connsiteX1" fmla="*/ 162739 w 162766"/>
                <a:gd name="connsiteY1" fmla="*/ 76522 h 78521"/>
                <a:gd name="connsiteX2" fmla="*/ 88031 w 162766"/>
                <a:gd name="connsiteY2" fmla="*/ 72837 h 78521"/>
                <a:gd name="connsiteX3" fmla="*/ 1234 w 162766"/>
                <a:gd name="connsiteY3" fmla="*/ 30157 h 78521"/>
                <a:gd name="connsiteX4" fmla="*/ 4920 w 162766"/>
                <a:gd name="connsiteY4" fmla="*/ 266 h 78521"/>
                <a:gd name="connsiteX5" fmla="*/ 9195 w 162766"/>
                <a:gd name="connsiteY5" fmla="*/ 2404 h 78521"/>
                <a:gd name="connsiteX6" fmla="*/ 111619 w 162766"/>
                <a:gd name="connsiteY6" fmla="*/ 49359 h 78521"/>
                <a:gd name="connsiteX7" fmla="*/ 161965 w 162766"/>
                <a:gd name="connsiteY7" fmla="*/ 62996 h 78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766" h="78521">
                  <a:moveTo>
                    <a:pt x="161965" y="62996"/>
                  </a:moveTo>
                  <a:lnTo>
                    <a:pt x="162739" y="76522"/>
                  </a:lnTo>
                  <a:cubicBezTo>
                    <a:pt x="162739" y="76522"/>
                    <a:pt x="131448" y="82898"/>
                    <a:pt x="88031" y="72837"/>
                  </a:cubicBezTo>
                  <a:cubicBezTo>
                    <a:pt x="44614" y="62775"/>
                    <a:pt x="5509" y="35980"/>
                    <a:pt x="1234" y="30157"/>
                  </a:cubicBezTo>
                  <a:cubicBezTo>
                    <a:pt x="-3041" y="24334"/>
                    <a:pt x="4920" y="266"/>
                    <a:pt x="4920" y="266"/>
                  </a:cubicBezTo>
                  <a:cubicBezTo>
                    <a:pt x="4920" y="266"/>
                    <a:pt x="-793" y="-1134"/>
                    <a:pt x="9195" y="2404"/>
                  </a:cubicBezTo>
                  <a:cubicBezTo>
                    <a:pt x="19183" y="5942"/>
                    <a:pt x="58288" y="40108"/>
                    <a:pt x="111619" y="49359"/>
                  </a:cubicBezTo>
                  <a:cubicBezTo>
                    <a:pt x="164950" y="58610"/>
                    <a:pt x="162775" y="55182"/>
                    <a:pt x="161965" y="62996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3" name="Freeform: Shape 273">
              <a:extLst>
                <a:ext uri="{FF2B5EF4-FFF2-40B4-BE49-F238E27FC236}">
                  <a16:creationId xmlns:a16="http://schemas.microsoft.com/office/drawing/2014/main" id="{B1C47C97-2447-E72B-C456-98C003719B94}"/>
                </a:ext>
              </a:extLst>
            </p:cNvPr>
            <p:cNvSpPr/>
            <p:nvPr/>
          </p:nvSpPr>
          <p:spPr>
            <a:xfrm>
              <a:off x="1635481" y="2386863"/>
              <a:ext cx="221359" cy="479975"/>
            </a:xfrm>
            <a:custGeom>
              <a:avLst/>
              <a:gdLst>
                <a:gd name="connsiteX0" fmla="*/ 172497 w 221359"/>
                <a:gd name="connsiteY0" fmla="*/ -7 h 479975"/>
                <a:gd name="connsiteX1" fmla="*/ 212007 w 221359"/>
                <a:gd name="connsiteY1" fmla="*/ 54319 h 479975"/>
                <a:gd name="connsiteX2" fmla="*/ 219710 w 221359"/>
                <a:gd name="connsiteY2" fmla="*/ 97662 h 479975"/>
                <a:gd name="connsiteX3" fmla="*/ 216024 w 221359"/>
                <a:gd name="connsiteY3" fmla="*/ 112405 h 479975"/>
                <a:gd name="connsiteX4" fmla="*/ 216024 w 221359"/>
                <a:gd name="connsiteY4" fmla="*/ 459261 h 479975"/>
                <a:gd name="connsiteX5" fmla="*/ 213260 w 221359"/>
                <a:gd name="connsiteY5" fmla="*/ 479569 h 479975"/>
                <a:gd name="connsiteX6" fmla="*/ 108478 w 221359"/>
                <a:gd name="connsiteY6" fmla="*/ 457086 h 479975"/>
                <a:gd name="connsiteX7" fmla="*/ 53193 w 221359"/>
                <a:gd name="connsiteY7" fmla="*/ 420856 h 479975"/>
                <a:gd name="connsiteX8" fmla="*/ 63623 w 221359"/>
                <a:gd name="connsiteY8" fmla="*/ 336345 h 479975"/>
                <a:gd name="connsiteX9" fmla="*/ 68009 w 221359"/>
                <a:gd name="connsiteY9" fmla="*/ 289168 h 479975"/>
                <a:gd name="connsiteX10" fmla="*/ -28 w 221359"/>
                <a:gd name="connsiteY10" fmla="*/ 289500 h 479975"/>
                <a:gd name="connsiteX11" fmla="*/ 44421 w 221359"/>
                <a:gd name="connsiteY11" fmla="*/ 86790 h 479975"/>
                <a:gd name="connsiteX12" fmla="*/ 156907 w 221359"/>
                <a:gd name="connsiteY12" fmla="*/ 21480 h 479975"/>
                <a:gd name="connsiteX13" fmla="*/ 172497 w 221359"/>
                <a:gd name="connsiteY13" fmla="*/ -7 h 479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1359" h="479975">
                  <a:moveTo>
                    <a:pt x="172497" y="-7"/>
                  </a:moveTo>
                  <a:cubicBezTo>
                    <a:pt x="172497" y="-7"/>
                    <a:pt x="199402" y="37329"/>
                    <a:pt x="212007" y="54319"/>
                  </a:cubicBezTo>
                  <a:cubicBezTo>
                    <a:pt x="224612" y="71310"/>
                    <a:pt x="221332" y="92171"/>
                    <a:pt x="219710" y="97662"/>
                  </a:cubicBezTo>
                  <a:cubicBezTo>
                    <a:pt x="218088" y="103154"/>
                    <a:pt x="216024" y="112405"/>
                    <a:pt x="216024" y="112405"/>
                  </a:cubicBezTo>
                  <a:lnTo>
                    <a:pt x="216024" y="459261"/>
                  </a:lnTo>
                  <a:cubicBezTo>
                    <a:pt x="216024" y="459261"/>
                    <a:pt x="220963" y="477910"/>
                    <a:pt x="213260" y="479569"/>
                  </a:cubicBezTo>
                  <a:cubicBezTo>
                    <a:pt x="205557" y="481227"/>
                    <a:pt x="149609" y="478463"/>
                    <a:pt x="108478" y="457086"/>
                  </a:cubicBezTo>
                  <a:cubicBezTo>
                    <a:pt x="67346" y="435709"/>
                    <a:pt x="53193" y="420856"/>
                    <a:pt x="53193" y="420856"/>
                  </a:cubicBezTo>
                  <a:lnTo>
                    <a:pt x="63623" y="336345"/>
                  </a:lnTo>
                  <a:lnTo>
                    <a:pt x="68009" y="289168"/>
                  </a:lnTo>
                  <a:lnTo>
                    <a:pt x="-28" y="289500"/>
                  </a:lnTo>
                  <a:cubicBezTo>
                    <a:pt x="-28" y="289500"/>
                    <a:pt x="40035" y="97110"/>
                    <a:pt x="44421" y="86790"/>
                  </a:cubicBezTo>
                  <a:cubicBezTo>
                    <a:pt x="48807" y="76470"/>
                    <a:pt x="156907" y="21480"/>
                    <a:pt x="156907" y="21480"/>
                  </a:cubicBezTo>
                  <a:cubicBezTo>
                    <a:pt x="156907" y="21480"/>
                    <a:pt x="158234" y="3568"/>
                    <a:pt x="172497" y="-7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4" name="Freeform: Shape 274">
              <a:extLst>
                <a:ext uri="{FF2B5EF4-FFF2-40B4-BE49-F238E27FC236}">
                  <a16:creationId xmlns:a16="http://schemas.microsoft.com/office/drawing/2014/main" id="{9508CF93-7DD0-3440-7DFD-22339F5457F7}"/>
                </a:ext>
              </a:extLst>
            </p:cNvPr>
            <p:cNvSpPr/>
            <p:nvPr/>
          </p:nvSpPr>
          <p:spPr>
            <a:xfrm>
              <a:off x="1943269" y="2533331"/>
              <a:ext cx="921" cy="9177"/>
            </a:xfrm>
            <a:custGeom>
              <a:avLst/>
              <a:gdLst>
                <a:gd name="connsiteX0" fmla="*/ 921 w 921"/>
                <a:gd name="connsiteY0" fmla="*/ 9177 h 9177"/>
                <a:gd name="connsiteX1" fmla="*/ 0 w 921"/>
                <a:gd name="connsiteY1" fmla="*/ 0 h 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1" h="9177">
                  <a:moveTo>
                    <a:pt x="921" y="9177"/>
                  </a:moveTo>
                  <a:lnTo>
                    <a:pt x="0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5" name="Freeform: Shape 275">
              <a:extLst>
                <a:ext uri="{FF2B5EF4-FFF2-40B4-BE49-F238E27FC236}">
                  <a16:creationId xmlns:a16="http://schemas.microsoft.com/office/drawing/2014/main" id="{EA8A00D8-75DD-3A1D-F3D4-5B6CF08BFF1E}"/>
                </a:ext>
              </a:extLst>
            </p:cNvPr>
            <p:cNvSpPr/>
            <p:nvPr/>
          </p:nvSpPr>
          <p:spPr>
            <a:xfrm>
              <a:off x="1945517" y="2556108"/>
              <a:ext cx="12862" cy="130619"/>
            </a:xfrm>
            <a:custGeom>
              <a:avLst/>
              <a:gdLst>
                <a:gd name="connsiteX0" fmla="*/ 12863 w 12862"/>
                <a:gd name="connsiteY0" fmla="*/ 130619 h 130619"/>
                <a:gd name="connsiteX1" fmla="*/ 0 w 12862"/>
                <a:gd name="connsiteY1" fmla="*/ 0 h 130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62" h="130619">
                  <a:moveTo>
                    <a:pt x="12863" y="130619"/>
                  </a:moveTo>
                  <a:lnTo>
                    <a:pt x="0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6" name="Freeform: Shape 276">
              <a:extLst>
                <a:ext uri="{FF2B5EF4-FFF2-40B4-BE49-F238E27FC236}">
                  <a16:creationId xmlns:a16="http://schemas.microsoft.com/office/drawing/2014/main" id="{122CCE42-8D8A-9040-C43A-DE57E78A6C71}"/>
                </a:ext>
              </a:extLst>
            </p:cNvPr>
            <p:cNvSpPr/>
            <p:nvPr/>
          </p:nvSpPr>
          <p:spPr>
            <a:xfrm>
              <a:off x="1703223" y="2553491"/>
              <a:ext cx="12826" cy="122547"/>
            </a:xfrm>
            <a:custGeom>
              <a:avLst/>
              <a:gdLst>
                <a:gd name="connsiteX0" fmla="*/ 0 w 12826"/>
                <a:gd name="connsiteY0" fmla="*/ 122548 h 122547"/>
                <a:gd name="connsiteX1" fmla="*/ 12826 w 12826"/>
                <a:gd name="connsiteY1" fmla="*/ 0 h 122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26" h="122547">
                  <a:moveTo>
                    <a:pt x="0" y="122548"/>
                  </a:moveTo>
                  <a:lnTo>
                    <a:pt x="12826" y="0"/>
                  </a:lnTo>
                </a:path>
              </a:pathLst>
            </a:custGeom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7" name="Freeform: Shape 277">
              <a:extLst>
                <a:ext uri="{FF2B5EF4-FFF2-40B4-BE49-F238E27FC236}">
                  <a16:creationId xmlns:a16="http://schemas.microsoft.com/office/drawing/2014/main" id="{556100FF-0A3C-EADC-D19C-002304F381AF}"/>
                </a:ext>
              </a:extLst>
            </p:cNvPr>
            <p:cNvSpPr/>
            <p:nvPr/>
          </p:nvSpPr>
          <p:spPr>
            <a:xfrm>
              <a:off x="1630410" y="2649288"/>
              <a:ext cx="62292" cy="84096"/>
            </a:xfrm>
            <a:custGeom>
              <a:avLst/>
              <a:gdLst>
                <a:gd name="connsiteX0" fmla="*/ 54357 w 62292"/>
                <a:gd name="connsiteY0" fmla="*/ 1350 h 84096"/>
                <a:gd name="connsiteX1" fmla="*/ 25498 w 62292"/>
                <a:gd name="connsiteY1" fmla="*/ 1350 h 84096"/>
                <a:gd name="connsiteX2" fmla="*/ 67 w 62292"/>
                <a:gd name="connsiteY2" fmla="*/ 45873 h 84096"/>
                <a:gd name="connsiteX3" fmla="*/ 18496 w 62292"/>
                <a:gd name="connsiteY3" fmla="*/ 80592 h 84096"/>
                <a:gd name="connsiteX4" fmla="*/ 50782 w 62292"/>
                <a:gd name="connsiteY4" fmla="*/ 77643 h 84096"/>
                <a:gd name="connsiteX5" fmla="*/ 61839 w 62292"/>
                <a:gd name="connsiteY5" fmla="*/ 21400 h 84096"/>
                <a:gd name="connsiteX6" fmla="*/ 54357 w 62292"/>
                <a:gd name="connsiteY6" fmla="*/ 1350 h 84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292" h="84096">
                  <a:moveTo>
                    <a:pt x="54357" y="1350"/>
                  </a:moveTo>
                  <a:cubicBezTo>
                    <a:pt x="44822" y="-459"/>
                    <a:pt x="35033" y="-459"/>
                    <a:pt x="25498" y="1350"/>
                  </a:cubicBezTo>
                  <a:cubicBezTo>
                    <a:pt x="8876" y="4299"/>
                    <a:pt x="1063" y="35111"/>
                    <a:pt x="67" y="45873"/>
                  </a:cubicBezTo>
                  <a:cubicBezTo>
                    <a:pt x="-928" y="56635"/>
                    <a:pt x="5928" y="75358"/>
                    <a:pt x="18496" y="80592"/>
                  </a:cubicBezTo>
                  <a:cubicBezTo>
                    <a:pt x="31064" y="85825"/>
                    <a:pt x="37587" y="85457"/>
                    <a:pt x="50782" y="77643"/>
                  </a:cubicBezTo>
                  <a:cubicBezTo>
                    <a:pt x="63976" y="69829"/>
                    <a:pt x="62539" y="33636"/>
                    <a:pt x="61839" y="21400"/>
                  </a:cubicBezTo>
                  <a:cubicBezTo>
                    <a:pt x="61614" y="14077"/>
                    <a:pt x="58986" y="7030"/>
                    <a:pt x="54357" y="1350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8" name="Freeform: Shape 278">
              <a:extLst>
                <a:ext uri="{FF2B5EF4-FFF2-40B4-BE49-F238E27FC236}">
                  <a16:creationId xmlns:a16="http://schemas.microsoft.com/office/drawing/2014/main" id="{BD541135-6C1F-668E-FE4A-8BE1448EC3CC}"/>
                </a:ext>
              </a:extLst>
            </p:cNvPr>
            <p:cNvSpPr/>
            <p:nvPr/>
          </p:nvSpPr>
          <p:spPr>
            <a:xfrm>
              <a:off x="1644160" y="2538928"/>
              <a:ext cx="170654" cy="184170"/>
            </a:xfrm>
            <a:custGeom>
              <a:avLst/>
              <a:gdLst>
                <a:gd name="connsiteX0" fmla="*/ 73078 w 170654"/>
                <a:gd name="connsiteY0" fmla="*/ 76328 h 184170"/>
                <a:gd name="connsiteX1" fmla="*/ 78459 w 170654"/>
                <a:gd name="connsiteY1" fmla="*/ 32800 h 184170"/>
                <a:gd name="connsiteX2" fmla="*/ 79417 w 170654"/>
                <a:gd name="connsiteY2" fmla="*/ 4421 h 184170"/>
                <a:gd name="connsiteX3" fmla="*/ 90659 w 170654"/>
                <a:gd name="connsiteY3" fmla="*/ 6853 h 184170"/>
                <a:gd name="connsiteX4" fmla="*/ 94602 w 170654"/>
                <a:gd name="connsiteY4" fmla="*/ 30810 h 184170"/>
                <a:gd name="connsiteX5" fmla="*/ 94602 w 170654"/>
                <a:gd name="connsiteY5" fmla="*/ 41572 h 184170"/>
                <a:gd name="connsiteX6" fmla="*/ 136655 w 170654"/>
                <a:gd name="connsiteY6" fmla="*/ 7849 h 184170"/>
                <a:gd name="connsiteX7" fmla="*/ 152798 w 170654"/>
                <a:gd name="connsiteY7" fmla="*/ 1472 h 184170"/>
                <a:gd name="connsiteX8" fmla="*/ 148855 w 170654"/>
                <a:gd name="connsiteY8" fmla="*/ 12234 h 184170"/>
                <a:gd name="connsiteX9" fmla="*/ 124898 w 170654"/>
                <a:gd name="connsiteY9" fmla="*/ 38034 h 184170"/>
                <a:gd name="connsiteX10" fmla="*/ 120992 w 170654"/>
                <a:gd name="connsiteY10" fmla="*/ 44373 h 184170"/>
                <a:gd name="connsiteX11" fmla="*/ 128363 w 170654"/>
                <a:gd name="connsiteY11" fmla="*/ 43378 h 184170"/>
                <a:gd name="connsiteX12" fmla="*/ 166030 w 170654"/>
                <a:gd name="connsiteY12" fmla="*/ 26756 h 184170"/>
                <a:gd name="connsiteX13" fmla="*/ 170563 w 170654"/>
                <a:gd name="connsiteY13" fmla="*/ 32933 h 184170"/>
                <a:gd name="connsiteX14" fmla="*/ 170416 w 170654"/>
                <a:gd name="connsiteY14" fmla="*/ 33611 h 184170"/>
                <a:gd name="connsiteX15" fmla="*/ 130832 w 170654"/>
                <a:gd name="connsiteY15" fmla="*/ 59411 h 184170"/>
                <a:gd name="connsiteX16" fmla="*/ 130316 w 170654"/>
                <a:gd name="connsiteY16" fmla="*/ 63833 h 184170"/>
                <a:gd name="connsiteX17" fmla="*/ 166988 w 170654"/>
                <a:gd name="connsiteY17" fmla="*/ 61364 h 184170"/>
                <a:gd name="connsiteX18" fmla="*/ 169244 w 170654"/>
                <a:gd name="connsiteY18" fmla="*/ 67589 h 184170"/>
                <a:gd name="connsiteX19" fmla="*/ 167983 w 170654"/>
                <a:gd name="connsiteY19" fmla="*/ 69214 h 184170"/>
                <a:gd name="connsiteX20" fmla="*/ 129837 w 170654"/>
                <a:gd name="connsiteY20" fmla="*/ 77028 h 184170"/>
                <a:gd name="connsiteX21" fmla="*/ 146459 w 170654"/>
                <a:gd name="connsiteY21" fmla="*/ 80456 h 184170"/>
                <a:gd name="connsiteX22" fmla="*/ 159654 w 170654"/>
                <a:gd name="connsiteY22" fmla="*/ 84362 h 184170"/>
                <a:gd name="connsiteX23" fmla="*/ 154273 w 170654"/>
                <a:gd name="connsiteY23" fmla="*/ 88785 h 184170"/>
                <a:gd name="connsiteX24" fmla="*/ 128842 w 170654"/>
                <a:gd name="connsiteY24" fmla="*/ 88785 h 184170"/>
                <a:gd name="connsiteX25" fmla="*/ 103927 w 170654"/>
                <a:gd name="connsiteY25" fmla="*/ 97078 h 184170"/>
                <a:gd name="connsiteX26" fmla="*/ 91212 w 170654"/>
                <a:gd name="connsiteY26" fmla="*/ 102459 h 184170"/>
                <a:gd name="connsiteX27" fmla="*/ 58446 w 170654"/>
                <a:gd name="connsiteY27" fmla="*/ 161650 h 184170"/>
                <a:gd name="connsiteX28" fmla="*/ 23691 w 170654"/>
                <a:gd name="connsiteY28" fmla="*/ 184133 h 184170"/>
                <a:gd name="connsiteX29" fmla="*/ 250 w 170654"/>
                <a:gd name="connsiteY29" fmla="*/ 150962 h 184170"/>
                <a:gd name="connsiteX30" fmla="*/ 41308 w 170654"/>
                <a:gd name="connsiteY30" fmla="*/ 105481 h 184170"/>
                <a:gd name="connsiteX31" fmla="*/ 73078 w 170654"/>
                <a:gd name="connsiteY31" fmla="*/ 76328 h 18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70654" h="184170">
                  <a:moveTo>
                    <a:pt x="73078" y="76328"/>
                  </a:moveTo>
                  <a:cubicBezTo>
                    <a:pt x="73078" y="76328"/>
                    <a:pt x="77943" y="43526"/>
                    <a:pt x="78459" y="32800"/>
                  </a:cubicBezTo>
                  <a:cubicBezTo>
                    <a:pt x="78975" y="22075"/>
                    <a:pt x="77464" y="8807"/>
                    <a:pt x="79417" y="4421"/>
                  </a:cubicBezTo>
                  <a:cubicBezTo>
                    <a:pt x="81371" y="35"/>
                    <a:pt x="88226" y="3942"/>
                    <a:pt x="90659" y="6853"/>
                  </a:cubicBezTo>
                  <a:cubicBezTo>
                    <a:pt x="93091" y="9765"/>
                    <a:pt x="95081" y="24950"/>
                    <a:pt x="94602" y="30810"/>
                  </a:cubicBezTo>
                  <a:cubicBezTo>
                    <a:pt x="94293" y="34393"/>
                    <a:pt x="94293" y="37990"/>
                    <a:pt x="94602" y="41572"/>
                  </a:cubicBezTo>
                  <a:cubicBezTo>
                    <a:pt x="94602" y="41572"/>
                    <a:pt x="132233" y="13709"/>
                    <a:pt x="136655" y="7849"/>
                  </a:cubicBezTo>
                  <a:cubicBezTo>
                    <a:pt x="141078" y="1988"/>
                    <a:pt x="149850" y="-2434"/>
                    <a:pt x="152798" y="1472"/>
                  </a:cubicBezTo>
                  <a:cubicBezTo>
                    <a:pt x="155747" y="5379"/>
                    <a:pt x="152283" y="8844"/>
                    <a:pt x="148855" y="12234"/>
                  </a:cubicBezTo>
                  <a:cubicBezTo>
                    <a:pt x="145427" y="15625"/>
                    <a:pt x="127847" y="35712"/>
                    <a:pt x="124898" y="38034"/>
                  </a:cubicBezTo>
                  <a:cubicBezTo>
                    <a:pt x="123033" y="39744"/>
                    <a:pt x="121681" y="41937"/>
                    <a:pt x="120992" y="44373"/>
                  </a:cubicBezTo>
                  <a:cubicBezTo>
                    <a:pt x="123490" y="44598"/>
                    <a:pt x="126011" y="44259"/>
                    <a:pt x="128363" y="43378"/>
                  </a:cubicBezTo>
                  <a:cubicBezTo>
                    <a:pt x="132785" y="41941"/>
                    <a:pt x="163081" y="26756"/>
                    <a:pt x="166030" y="26756"/>
                  </a:cubicBezTo>
                  <a:cubicBezTo>
                    <a:pt x="168986" y="27209"/>
                    <a:pt x="171017" y="29973"/>
                    <a:pt x="170563" y="32933"/>
                  </a:cubicBezTo>
                  <a:cubicBezTo>
                    <a:pt x="170530" y="33162"/>
                    <a:pt x="170478" y="33386"/>
                    <a:pt x="170416" y="33611"/>
                  </a:cubicBezTo>
                  <a:cubicBezTo>
                    <a:pt x="169458" y="36560"/>
                    <a:pt x="132270" y="59042"/>
                    <a:pt x="130832" y="59411"/>
                  </a:cubicBezTo>
                  <a:cubicBezTo>
                    <a:pt x="129395" y="59779"/>
                    <a:pt x="127884" y="63354"/>
                    <a:pt x="130316" y="63833"/>
                  </a:cubicBezTo>
                  <a:cubicBezTo>
                    <a:pt x="132749" y="64313"/>
                    <a:pt x="163081" y="59411"/>
                    <a:pt x="166988" y="61364"/>
                  </a:cubicBezTo>
                  <a:cubicBezTo>
                    <a:pt x="169329" y="62459"/>
                    <a:pt x="170338" y="65245"/>
                    <a:pt x="169244" y="67589"/>
                  </a:cubicBezTo>
                  <a:cubicBezTo>
                    <a:pt x="168949" y="68216"/>
                    <a:pt x="168518" y="68772"/>
                    <a:pt x="167983" y="69214"/>
                  </a:cubicBezTo>
                  <a:cubicBezTo>
                    <a:pt x="166030" y="70689"/>
                    <a:pt x="129837" y="77028"/>
                    <a:pt x="129837" y="77028"/>
                  </a:cubicBezTo>
                  <a:lnTo>
                    <a:pt x="146459" y="80456"/>
                  </a:lnTo>
                  <a:cubicBezTo>
                    <a:pt x="151361" y="81451"/>
                    <a:pt x="159654" y="81451"/>
                    <a:pt x="159654" y="84362"/>
                  </a:cubicBezTo>
                  <a:cubicBezTo>
                    <a:pt x="159654" y="87274"/>
                    <a:pt x="157700" y="88785"/>
                    <a:pt x="154273" y="88785"/>
                  </a:cubicBezTo>
                  <a:lnTo>
                    <a:pt x="128842" y="88785"/>
                  </a:lnTo>
                  <a:cubicBezTo>
                    <a:pt x="123461" y="88785"/>
                    <a:pt x="112736" y="93171"/>
                    <a:pt x="103927" y="97078"/>
                  </a:cubicBezTo>
                  <a:cubicBezTo>
                    <a:pt x="95118" y="100985"/>
                    <a:pt x="91212" y="102459"/>
                    <a:pt x="91212" y="102459"/>
                  </a:cubicBezTo>
                  <a:cubicBezTo>
                    <a:pt x="91212" y="102459"/>
                    <a:pt x="67218" y="145986"/>
                    <a:pt x="58446" y="161650"/>
                  </a:cubicBezTo>
                  <a:cubicBezTo>
                    <a:pt x="51613" y="174727"/>
                    <a:pt x="38418" y="183259"/>
                    <a:pt x="23691" y="184133"/>
                  </a:cubicBezTo>
                  <a:cubicBezTo>
                    <a:pt x="10975" y="185128"/>
                    <a:pt x="-2109" y="162019"/>
                    <a:pt x="250" y="150962"/>
                  </a:cubicBezTo>
                  <a:cubicBezTo>
                    <a:pt x="2609" y="139905"/>
                    <a:pt x="23212" y="114769"/>
                    <a:pt x="41308" y="105481"/>
                  </a:cubicBezTo>
                  <a:cubicBezTo>
                    <a:pt x="59404" y="96193"/>
                    <a:pt x="64749" y="87164"/>
                    <a:pt x="73078" y="76328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9" name="Freeform: Shape 279">
              <a:extLst>
                <a:ext uri="{FF2B5EF4-FFF2-40B4-BE49-F238E27FC236}">
                  <a16:creationId xmlns:a16="http://schemas.microsoft.com/office/drawing/2014/main" id="{91D78305-C0F8-317B-3078-350D07CEE5F9}"/>
                </a:ext>
              </a:extLst>
            </p:cNvPr>
            <p:cNvSpPr/>
            <p:nvPr/>
          </p:nvSpPr>
          <p:spPr>
            <a:xfrm>
              <a:off x="1957753" y="2637439"/>
              <a:ext cx="51045" cy="86985"/>
            </a:xfrm>
            <a:custGeom>
              <a:avLst/>
              <a:gdLst>
                <a:gd name="connsiteX0" fmla="*/ 51018 w 51045"/>
                <a:gd name="connsiteY0" fmla="*/ 18875 h 86985"/>
                <a:gd name="connsiteX1" fmla="*/ 27246 w 51045"/>
                <a:gd name="connsiteY1" fmla="*/ 5 h 86985"/>
                <a:gd name="connsiteX2" fmla="*/ -28 w 51045"/>
                <a:gd name="connsiteY2" fmla="*/ 44048 h 86985"/>
                <a:gd name="connsiteX3" fmla="*/ 6275 w 51045"/>
                <a:gd name="connsiteY3" fmla="*/ 85991 h 86985"/>
                <a:gd name="connsiteX4" fmla="*/ 28647 w 51045"/>
                <a:gd name="connsiteY4" fmla="*/ 74934 h 86985"/>
                <a:gd name="connsiteX5" fmla="*/ 51018 w 51045"/>
                <a:gd name="connsiteY5" fmla="*/ 18875 h 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045" h="86985">
                  <a:moveTo>
                    <a:pt x="51018" y="18875"/>
                  </a:moveTo>
                  <a:cubicBezTo>
                    <a:pt x="51018" y="18875"/>
                    <a:pt x="37050" y="705"/>
                    <a:pt x="27246" y="5"/>
                  </a:cubicBezTo>
                  <a:cubicBezTo>
                    <a:pt x="17442" y="-696"/>
                    <a:pt x="-28" y="30743"/>
                    <a:pt x="-28" y="44048"/>
                  </a:cubicBezTo>
                  <a:cubicBezTo>
                    <a:pt x="-28" y="57353"/>
                    <a:pt x="672" y="82489"/>
                    <a:pt x="6275" y="85991"/>
                  </a:cubicBezTo>
                  <a:cubicBezTo>
                    <a:pt x="11877" y="89492"/>
                    <a:pt x="22344" y="83189"/>
                    <a:pt x="28647" y="74934"/>
                  </a:cubicBezTo>
                  <a:cubicBezTo>
                    <a:pt x="34949" y="66678"/>
                    <a:pt x="51018" y="18875"/>
                    <a:pt x="51018" y="18875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0" name="Freeform: Shape 280">
              <a:extLst>
                <a:ext uri="{FF2B5EF4-FFF2-40B4-BE49-F238E27FC236}">
                  <a16:creationId xmlns:a16="http://schemas.microsoft.com/office/drawing/2014/main" id="{2987B7CA-3DBB-24A6-B4F6-10DF3DC48BF6}"/>
                </a:ext>
              </a:extLst>
            </p:cNvPr>
            <p:cNvSpPr/>
            <p:nvPr/>
          </p:nvSpPr>
          <p:spPr>
            <a:xfrm>
              <a:off x="2160648" y="2555892"/>
              <a:ext cx="8584" cy="31543"/>
            </a:xfrm>
            <a:custGeom>
              <a:avLst/>
              <a:gdLst>
                <a:gd name="connsiteX0" fmla="*/ 8449 w 8584"/>
                <a:gd name="connsiteY0" fmla="*/ 14178 h 31543"/>
                <a:gd name="connsiteX1" fmla="*/ 6422 w 8584"/>
                <a:gd name="connsiteY1" fmla="*/ 25 h 31543"/>
                <a:gd name="connsiteX2" fmla="*/ 2405 w 8584"/>
                <a:gd name="connsiteY2" fmla="*/ 9718 h 31543"/>
                <a:gd name="connsiteX3" fmla="*/ -28 w 8584"/>
                <a:gd name="connsiteY3" fmla="*/ 31537 h 31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84" h="31543">
                  <a:moveTo>
                    <a:pt x="8449" y="14178"/>
                  </a:moveTo>
                  <a:cubicBezTo>
                    <a:pt x="8449" y="14178"/>
                    <a:pt x="9260" y="-786"/>
                    <a:pt x="6422" y="25"/>
                  </a:cubicBezTo>
                  <a:cubicBezTo>
                    <a:pt x="3584" y="836"/>
                    <a:pt x="1594" y="2863"/>
                    <a:pt x="2405" y="9718"/>
                  </a:cubicBezTo>
                  <a:cubicBezTo>
                    <a:pt x="2397" y="17060"/>
                    <a:pt x="1583" y="24376"/>
                    <a:pt x="-28" y="3153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1" name="Freeform: Shape 281">
              <a:extLst>
                <a:ext uri="{FF2B5EF4-FFF2-40B4-BE49-F238E27FC236}">
                  <a16:creationId xmlns:a16="http://schemas.microsoft.com/office/drawing/2014/main" id="{A2A61D69-B49A-27C5-94AB-E23159D76B3C}"/>
                </a:ext>
              </a:extLst>
            </p:cNvPr>
            <p:cNvSpPr/>
            <p:nvPr/>
          </p:nvSpPr>
          <p:spPr>
            <a:xfrm>
              <a:off x="1973069" y="2554068"/>
              <a:ext cx="205379" cy="160450"/>
            </a:xfrm>
            <a:custGeom>
              <a:avLst/>
              <a:gdLst>
                <a:gd name="connsiteX0" fmla="*/ 21402 w 205379"/>
                <a:gd name="connsiteY0" fmla="*/ 97233 h 160450"/>
                <a:gd name="connsiteX1" fmla="*/ -11 w 205379"/>
                <a:gd name="connsiteY1" fmla="*/ 148574 h 160450"/>
                <a:gd name="connsiteX2" fmla="*/ 27078 w 205379"/>
                <a:gd name="connsiteY2" fmla="*/ 158268 h 160450"/>
                <a:gd name="connsiteX3" fmla="*/ 168127 w 205379"/>
                <a:gd name="connsiteY3" fmla="*/ 83486 h 160450"/>
                <a:gd name="connsiteX4" fmla="*/ 199676 w 205379"/>
                <a:gd name="connsiteY4" fmla="*/ 30523 h 160450"/>
                <a:gd name="connsiteX5" fmla="*/ 205315 w 205379"/>
                <a:gd name="connsiteY5" fmla="*/ 1849 h 160450"/>
                <a:gd name="connsiteX6" fmla="*/ 199676 w 205379"/>
                <a:gd name="connsiteY6" fmla="*/ 3876 h 160450"/>
                <a:gd name="connsiteX7" fmla="*/ 183902 w 205379"/>
                <a:gd name="connsiteY7" fmla="*/ 34983 h 160450"/>
                <a:gd name="connsiteX8" fmla="*/ 163705 w 205379"/>
                <a:gd name="connsiteY8" fmla="*/ 44676 h 160450"/>
                <a:gd name="connsiteX9" fmla="*/ 176236 w 205379"/>
                <a:gd name="connsiteY9" fmla="*/ 20425 h 160450"/>
                <a:gd name="connsiteX10" fmla="*/ 175425 w 205379"/>
                <a:gd name="connsiteY10" fmla="*/ 9921 h 160450"/>
                <a:gd name="connsiteX11" fmla="*/ 153569 w 205379"/>
                <a:gd name="connsiteY11" fmla="*/ 41064 h 160450"/>
                <a:gd name="connsiteX12" fmla="*/ 143876 w 205379"/>
                <a:gd name="connsiteY12" fmla="*/ 70955 h 160450"/>
                <a:gd name="connsiteX13" fmla="*/ 145092 w 205379"/>
                <a:gd name="connsiteY13" fmla="*/ 77442 h 160450"/>
                <a:gd name="connsiteX14" fmla="*/ 80004 w 205379"/>
                <a:gd name="connsiteY14" fmla="*/ 87946 h 160450"/>
                <a:gd name="connsiteX15" fmla="*/ 21402 w 205379"/>
                <a:gd name="connsiteY15" fmla="*/ 97233 h 16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5379" h="160450">
                  <a:moveTo>
                    <a:pt x="21402" y="97233"/>
                  </a:moveTo>
                  <a:cubicBezTo>
                    <a:pt x="21402" y="97233"/>
                    <a:pt x="-712" y="137775"/>
                    <a:pt x="-11" y="148574"/>
                  </a:cubicBezTo>
                  <a:cubicBezTo>
                    <a:pt x="689" y="159373"/>
                    <a:pt x="10087" y="163317"/>
                    <a:pt x="27078" y="158268"/>
                  </a:cubicBezTo>
                  <a:cubicBezTo>
                    <a:pt x="44069" y="153218"/>
                    <a:pt x="162488" y="88756"/>
                    <a:pt x="168127" y="83486"/>
                  </a:cubicBezTo>
                  <a:cubicBezTo>
                    <a:pt x="173766" y="78215"/>
                    <a:pt x="193190" y="37821"/>
                    <a:pt x="199676" y="30523"/>
                  </a:cubicBezTo>
                  <a:cubicBezTo>
                    <a:pt x="206163" y="23226"/>
                    <a:pt x="205315" y="5092"/>
                    <a:pt x="205315" y="1849"/>
                  </a:cubicBezTo>
                  <a:cubicBezTo>
                    <a:pt x="205315" y="-1394"/>
                    <a:pt x="199676" y="-178"/>
                    <a:pt x="199676" y="3876"/>
                  </a:cubicBezTo>
                  <a:cubicBezTo>
                    <a:pt x="199676" y="7930"/>
                    <a:pt x="185929" y="34172"/>
                    <a:pt x="183902" y="34983"/>
                  </a:cubicBezTo>
                  <a:cubicBezTo>
                    <a:pt x="181875" y="35794"/>
                    <a:pt x="163705" y="44676"/>
                    <a:pt x="163705" y="44676"/>
                  </a:cubicBezTo>
                  <a:cubicBezTo>
                    <a:pt x="163705" y="44676"/>
                    <a:pt x="172992" y="26506"/>
                    <a:pt x="176236" y="20425"/>
                  </a:cubicBezTo>
                  <a:cubicBezTo>
                    <a:pt x="179479" y="14343"/>
                    <a:pt x="182280" y="7488"/>
                    <a:pt x="175425" y="9921"/>
                  </a:cubicBezTo>
                  <a:cubicBezTo>
                    <a:pt x="168570" y="12353"/>
                    <a:pt x="157623" y="30929"/>
                    <a:pt x="153569" y="41064"/>
                  </a:cubicBezTo>
                  <a:cubicBezTo>
                    <a:pt x="149515" y="51200"/>
                    <a:pt x="142512" y="64505"/>
                    <a:pt x="143876" y="70955"/>
                  </a:cubicBezTo>
                  <a:lnTo>
                    <a:pt x="145092" y="77442"/>
                  </a:lnTo>
                  <a:cubicBezTo>
                    <a:pt x="145092" y="77442"/>
                    <a:pt x="104255" y="86729"/>
                    <a:pt x="80004" y="87946"/>
                  </a:cubicBezTo>
                  <a:cubicBezTo>
                    <a:pt x="55752" y="89162"/>
                    <a:pt x="22618" y="93179"/>
                    <a:pt x="21402" y="97233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2" name="Freeform: Shape 282">
              <a:extLst>
                <a:ext uri="{FF2B5EF4-FFF2-40B4-BE49-F238E27FC236}">
                  <a16:creationId xmlns:a16="http://schemas.microsoft.com/office/drawing/2014/main" id="{4087DEE0-CFB4-B66C-C498-2EF633C159DC}"/>
                </a:ext>
              </a:extLst>
            </p:cNvPr>
            <p:cNvSpPr/>
            <p:nvPr/>
          </p:nvSpPr>
          <p:spPr>
            <a:xfrm>
              <a:off x="2157957" y="2560810"/>
              <a:ext cx="30264" cy="47671"/>
            </a:xfrm>
            <a:custGeom>
              <a:avLst/>
              <a:gdLst>
                <a:gd name="connsiteX0" fmla="*/ 230 w 30264"/>
                <a:gd name="connsiteY0" fmla="*/ 47665 h 47671"/>
                <a:gd name="connsiteX1" fmla="*/ 24482 w 30264"/>
                <a:gd name="connsiteY1" fmla="*/ 18548 h 47671"/>
                <a:gd name="connsiteX2" fmla="*/ 30121 w 30264"/>
                <a:gd name="connsiteY2" fmla="*/ 1963 h 47671"/>
                <a:gd name="connsiteX3" fmla="*/ 22750 w 30264"/>
                <a:gd name="connsiteY3" fmla="*/ 7638 h 47671"/>
                <a:gd name="connsiteX4" fmla="*/ 11029 w 30264"/>
                <a:gd name="connsiteY4" fmla="*/ 23376 h 47671"/>
                <a:gd name="connsiteX5" fmla="*/ -28 w 30264"/>
                <a:gd name="connsiteY5" fmla="*/ 32701 h 4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64" h="47671">
                  <a:moveTo>
                    <a:pt x="230" y="47665"/>
                  </a:moveTo>
                  <a:cubicBezTo>
                    <a:pt x="230" y="47665"/>
                    <a:pt x="21644" y="22971"/>
                    <a:pt x="24482" y="18548"/>
                  </a:cubicBezTo>
                  <a:cubicBezTo>
                    <a:pt x="27320" y="14125"/>
                    <a:pt x="30932" y="7233"/>
                    <a:pt x="30121" y="1963"/>
                  </a:cubicBezTo>
                  <a:cubicBezTo>
                    <a:pt x="29310" y="-3308"/>
                    <a:pt x="25698" y="3179"/>
                    <a:pt x="22750" y="7638"/>
                  </a:cubicBezTo>
                  <a:cubicBezTo>
                    <a:pt x="19801" y="12098"/>
                    <a:pt x="14273" y="16115"/>
                    <a:pt x="11029" y="23376"/>
                  </a:cubicBezTo>
                  <a:cubicBezTo>
                    <a:pt x="8810" y="27895"/>
                    <a:pt x="4800" y="31278"/>
                    <a:pt x="-28" y="32701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3" name="Freeform: Shape 283">
              <a:extLst>
                <a:ext uri="{FF2B5EF4-FFF2-40B4-BE49-F238E27FC236}">
                  <a16:creationId xmlns:a16="http://schemas.microsoft.com/office/drawing/2014/main" id="{53E7B3EF-9ED3-07DC-93AE-59E7B3822901}"/>
                </a:ext>
              </a:extLst>
            </p:cNvPr>
            <p:cNvSpPr/>
            <p:nvPr/>
          </p:nvSpPr>
          <p:spPr>
            <a:xfrm>
              <a:off x="2131936" y="2562078"/>
              <a:ext cx="38423" cy="66305"/>
            </a:xfrm>
            <a:custGeom>
              <a:avLst/>
              <a:gdLst>
                <a:gd name="connsiteX0" fmla="*/ 18585 w 38423"/>
                <a:gd name="connsiteY0" fmla="*/ 61323 h 66305"/>
                <a:gd name="connsiteX1" fmla="*/ 33917 w 38423"/>
                <a:gd name="connsiteY1" fmla="*/ 29405 h 66305"/>
                <a:gd name="connsiteX2" fmla="*/ 38377 w 38423"/>
                <a:gd name="connsiteY2" fmla="*/ 3606 h 66305"/>
                <a:gd name="connsiteX3" fmla="*/ 31890 w 38423"/>
                <a:gd name="connsiteY3" fmla="*/ 7291 h 66305"/>
                <a:gd name="connsiteX4" fmla="*/ 26251 w 38423"/>
                <a:gd name="connsiteY4" fmla="*/ 31543 h 66305"/>
                <a:gd name="connsiteX5" fmla="*/ -28 w 38423"/>
                <a:gd name="connsiteY5" fmla="*/ 54984 h 66305"/>
                <a:gd name="connsiteX6" fmla="*/ 783 w 38423"/>
                <a:gd name="connsiteY6" fmla="*/ 66299 h 66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23" h="66305">
                  <a:moveTo>
                    <a:pt x="18585" y="61323"/>
                  </a:moveTo>
                  <a:cubicBezTo>
                    <a:pt x="18585" y="61323"/>
                    <a:pt x="30710" y="36261"/>
                    <a:pt x="33917" y="29405"/>
                  </a:cubicBezTo>
                  <a:cubicBezTo>
                    <a:pt x="37124" y="22550"/>
                    <a:pt x="37971" y="10793"/>
                    <a:pt x="38377" y="3606"/>
                  </a:cubicBezTo>
                  <a:cubicBezTo>
                    <a:pt x="38782" y="-3581"/>
                    <a:pt x="32701" y="1173"/>
                    <a:pt x="31890" y="7291"/>
                  </a:cubicBezTo>
                  <a:cubicBezTo>
                    <a:pt x="31079" y="13410"/>
                    <a:pt x="26251" y="31543"/>
                    <a:pt x="26251" y="31543"/>
                  </a:cubicBezTo>
                  <a:cubicBezTo>
                    <a:pt x="26251" y="31543"/>
                    <a:pt x="-28" y="49971"/>
                    <a:pt x="-28" y="54984"/>
                  </a:cubicBezTo>
                  <a:cubicBezTo>
                    <a:pt x="50" y="58765"/>
                    <a:pt x="322" y="62543"/>
                    <a:pt x="783" y="66299"/>
                  </a:cubicBezTo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4" name="Freeform: Shape 284">
              <a:extLst>
                <a:ext uri="{FF2B5EF4-FFF2-40B4-BE49-F238E27FC236}">
                  <a16:creationId xmlns:a16="http://schemas.microsoft.com/office/drawing/2014/main" id="{12C69280-B309-2E8B-18A3-F07578A27B68}"/>
                </a:ext>
              </a:extLst>
            </p:cNvPr>
            <p:cNvSpPr/>
            <p:nvPr/>
          </p:nvSpPr>
          <p:spPr>
            <a:xfrm>
              <a:off x="1287336" y="3003877"/>
              <a:ext cx="39325" cy="69842"/>
            </a:xfrm>
            <a:custGeom>
              <a:avLst/>
              <a:gdLst>
                <a:gd name="connsiteX0" fmla="*/ 0 w 39325"/>
                <a:gd name="connsiteY0" fmla="*/ 0 h 69842"/>
                <a:gd name="connsiteX1" fmla="*/ 39326 w 39325"/>
                <a:gd name="connsiteY1" fmla="*/ 0 h 69842"/>
                <a:gd name="connsiteX2" fmla="*/ 39326 w 39325"/>
                <a:gd name="connsiteY2" fmla="*/ 69843 h 69842"/>
                <a:gd name="connsiteX3" fmla="*/ 0 w 39325"/>
                <a:gd name="connsiteY3" fmla="*/ 69843 h 69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25" h="69842">
                  <a:moveTo>
                    <a:pt x="0" y="0"/>
                  </a:moveTo>
                  <a:lnTo>
                    <a:pt x="39326" y="0"/>
                  </a:lnTo>
                  <a:lnTo>
                    <a:pt x="39326" y="69843"/>
                  </a:lnTo>
                  <a:lnTo>
                    <a:pt x="0" y="69843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5" name="Freeform: Shape 285">
              <a:extLst>
                <a:ext uri="{FF2B5EF4-FFF2-40B4-BE49-F238E27FC236}">
                  <a16:creationId xmlns:a16="http://schemas.microsoft.com/office/drawing/2014/main" id="{E7B3E3A2-729F-BC7E-D520-741570E4AFA3}"/>
                </a:ext>
              </a:extLst>
            </p:cNvPr>
            <p:cNvSpPr/>
            <p:nvPr/>
          </p:nvSpPr>
          <p:spPr>
            <a:xfrm>
              <a:off x="1205994" y="2725316"/>
              <a:ext cx="195965" cy="299789"/>
            </a:xfrm>
            <a:custGeom>
              <a:avLst/>
              <a:gdLst>
                <a:gd name="connsiteX0" fmla="*/ 138359 w 195965"/>
                <a:gd name="connsiteY0" fmla="*/ 0 h 299789"/>
                <a:gd name="connsiteX1" fmla="*/ 195965 w 195965"/>
                <a:gd name="connsiteY1" fmla="*/ 0 h 299789"/>
                <a:gd name="connsiteX2" fmla="*/ 195965 w 195965"/>
                <a:gd name="connsiteY2" fmla="*/ 299790 h 299789"/>
                <a:gd name="connsiteX3" fmla="*/ 138359 w 195965"/>
                <a:gd name="connsiteY3" fmla="*/ 299790 h 299789"/>
                <a:gd name="connsiteX4" fmla="*/ 57606 w 195965"/>
                <a:gd name="connsiteY4" fmla="*/ 299790 h 299789"/>
                <a:gd name="connsiteX5" fmla="*/ 0 w 195965"/>
                <a:gd name="connsiteY5" fmla="*/ 299790 h 299789"/>
                <a:gd name="connsiteX6" fmla="*/ 0 w 195965"/>
                <a:gd name="connsiteY6" fmla="*/ 0 h 299789"/>
                <a:gd name="connsiteX7" fmla="*/ 57606 w 195965"/>
                <a:gd name="connsiteY7" fmla="*/ 0 h 299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965" h="299789">
                  <a:moveTo>
                    <a:pt x="138359" y="0"/>
                  </a:moveTo>
                  <a:cubicBezTo>
                    <a:pt x="170174" y="0"/>
                    <a:pt x="195965" y="0"/>
                    <a:pt x="195965" y="0"/>
                  </a:cubicBezTo>
                  <a:lnTo>
                    <a:pt x="195965" y="299790"/>
                  </a:lnTo>
                  <a:cubicBezTo>
                    <a:pt x="195965" y="299790"/>
                    <a:pt x="170174" y="299790"/>
                    <a:pt x="138359" y="299790"/>
                  </a:cubicBezTo>
                  <a:lnTo>
                    <a:pt x="57606" y="299790"/>
                  </a:lnTo>
                  <a:cubicBezTo>
                    <a:pt x="25791" y="299790"/>
                    <a:pt x="0" y="299790"/>
                    <a:pt x="0" y="299790"/>
                  </a:cubicBezTo>
                  <a:lnTo>
                    <a:pt x="0" y="0"/>
                  </a:lnTo>
                  <a:cubicBezTo>
                    <a:pt x="0" y="0"/>
                    <a:pt x="25791" y="0"/>
                    <a:pt x="57606" y="0"/>
                  </a:cubicBezTo>
                  <a:close/>
                </a:path>
              </a:pathLst>
            </a:custGeom>
            <a:solidFill>
              <a:srgbClr val="949494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6" name="Freeform: Shape 286">
              <a:extLst>
                <a:ext uri="{FF2B5EF4-FFF2-40B4-BE49-F238E27FC236}">
                  <a16:creationId xmlns:a16="http://schemas.microsoft.com/office/drawing/2014/main" id="{E6CB27A3-0E85-FC25-CE35-0F7C27D958B6}"/>
                </a:ext>
              </a:extLst>
            </p:cNvPr>
            <p:cNvSpPr/>
            <p:nvPr/>
          </p:nvSpPr>
          <p:spPr>
            <a:xfrm>
              <a:off x="1211891" y="3422934"/>
              <a:ext cx="33318" cy="33318"/>
            </a:xfrm>
            <a:custGeom>
              <a:avLst/>
              <a:gdLst>
                <a:gd name="connsiteX0" fmla="*/ 33290 w 33318"/>
                <a:gd name="connsiteY0" fmla="*/ 16689 h 33318"/>
                <a:gd name="connsiteX1" fmla="*/ 16668 w 33318"/>
                <a:gd name="connsiteY1" fmla="*/ -7 h 33318"/>
                <a:gd name="connsiteX2" fmla="*/ -28 w 33318"/>
                <a:gd name="connsiteY2" fmla="*/ 16615 h 33318"/>
                <a:gd name="connsiteX3" fmla="*/ 16595 w 33318"/>
                <a:gd name="connsiteY3" fmla="*/ 33311 h 33318"/>
                <a:gd name="connsiteX4" fmla="*/ 16668 w 33318"/>
                <a:gd name="connsiteY4" fmla="*/ 33311 h 33318"/>
                <a:gd name="connsiteX5" fmla="*/ 33290 w 33318"/>
                <a:gd name="connsiteY5" fmla="*/ 16689 h 3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18" h="33318">
                  <a:moveTo>
                    <a:pt x="33290" y="16689"/>
                  </a:moveTo>
                  <a:cubicBezTo>
                    <a:pt x="33313" y="7490"/>
                    <a:pt x="25868" y="15"/>
                    <a:pt x="16668" y="-7"/>
                  </a:cubicBezTo>
                  <a:cubicBezTo>
                    <a:pt x="7469" y="-25"/>
                    <a:pt x="-6" y="7416"/>
                    <a:pt x="-28" y="16615"/>
                  </a:cubicBezTo>
                  <a:cubicBezTo>
                    <a:pt x="-46" y="25815"/>
                    <a:pt x="7395" y="33293"/>
                    <a:pt x="16595" y="33311"/>
                  </a:cubicBezTo>
                  <a:cubicBezTo>
                    <a:pt x="16620" y="33311"/>
                    <a:pt x="16642" y="33311"/>
                    <a:pt x="16668" y="33311"/>
                  </a:cubicBezTo>
                  <a:cubicBezTo>
                    <a:pt x="25849" y="33311"/>
                    <a:pt x="33290" y="25870"/>
                    <a:pt x="33290" y="16689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7" name="Freeform: Shape 287">
              <a:extLst>
                <a:ext uri="{FF2B5EF4-FFF2-40B4-BE49-F238E27FC236}">
                  <a16:creationId xmlns:a16="http://schemas.microsoft.com/office/drawing/2014/main" id="{9E05B8AF-59B3-8CAD-3B1E-139C891AEBD1}"/>
                </a:ext>
              </a:extLst>
            </p:cNvPr>
            <p:cNvSpPr/>
            <p:nvPr/>
          </p:nvSpPr>
          <p:spPr>
            <a:xfrm>
              <a:off x="1537001" y="3422934"/>
              <a:ext cx="33318" cy="33318"/>
            </a:xfrm>
            <a:custGeom>
              <a:avLst/>
              <a:gdLst>
                <a:gd name="connsiteX0" fmla="*/ 33291 w 33318"/>
                <a:gd name="connsiteY0" fmla="*/ 16689 h 33318"/>
                <a:gd name="connsiteX1" fmla="*/ 16668 w 33318"/>
                <a:gd name="connsiteY1" fmla="*/ -7 h 33318"/>
                <a:gd name="connsiteX2" fmla="*/ -28 w 33318"/>
                <a:gd name="connsiteY2" fmla="*/ 16615 h 33318"/>
                <a:gd name="connsiteX3" fmla="*/ 16595 w 33318"/>
                <a:gd name="connsiteY3" fmla="*/ 33311 h 33318"/>
                <a:gd name="connsiteX4" fmla="*/ 16668 w 33318"/>
                <a:gd name="connsiteY4" fmla="*/ 33311 h 33318"/>
                <a:gd name="connsiteX5" fmla="*/ 33291 w 33318"/>
                <a:gd name="connsiteY5" fmla="*/ 16689 h 3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18" h="33318">
                  <a:moveTo>
                    <a:pt x="33291" y="16689"/>
                  </a:moveTo>
                  <a:cubicBezTo>
                    <a:pt x="33313" y="7490"/>
                    <a:pt x="25868" y="15"/>
                    <a:pt x="16668" y="-7"/>
                  </a:cubicBezTo>
                  <a:cubicBezTo>
                    <a:pt x="7469" y="-25"/>
                    <a:pt x="-6" y="7416"/>
                    <a:pt x="-28" y="16615"/>
                  </a:cubicBezTo>
                  <a:cubicBezTo>
                    <a:pt x="-46" y="25815"/>
                    <a:pt x="7395" y="33293"/>
                    <a:pt x="16595" y="33311"/>
                  </a:cubicBezTo>
                  <a:cubicBezTo>
                    <a:pt x="16620" y="33311"/>
                    <a:pt x="16643" y="33311"/>
                    <a:pt x="16668" y="33311"/>
                  </a:cubicBezTo>
                  <a:cubicBezTo>
                    <a:pt x="25849" y="33311"/>
                    <a:pt x="33291" y="25870"/>
                    <a:pt x="33291" y="16689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8" name="Freeform: Shape 288">
              <a:extLst>
                <a:ext uri="{FF2B5EF4-FFF2-40B4-BE49-F238E27FC236}">
                  <a16:creationId xmlns:a16="http://schemas.microsoft.com/office/drawing/2014/main" id="{0010FD6A-E2BE-F3B1-DB9E-6575F11B5E6A}"/>
                </a:ext>
              </a:extLst>
            </p:cNvPr>
            <p:cNvSpPr/>
            <p:nvPr/>
          </p:nvSpPr>
          <p:spPr>
            <a:xfrm>
              <a:off x="1383752" y="3422971"/>
              <a:ext cx="15442" cy="33281"/>
            </a:xfrm>
            <a:custGeom>
              <a:avLst/>
              <a:gdLst>
                <a:gd name="connsiteX0" fmla="*/ 15415 w 15442"/>
                <a:gd name="connsiteY0" fmla="*/ 16652 h 33281"/>
                <a:gd name="connsiteX1" fmla="*/ 7712 w 15442"/>
                <a:gd name="connsiteY1" fmla="*/ -7 h 33281"/>
                <a:gd name="connsiteX2" fmla="*/ -28 w 15442"/>
                <a:gd name="connsiteY2" fmla="*/ 16652 h 33281"/>
                <a:gd name="connsiteX3" fmla="*/ 7712 w 15442"/>
                <a:gd name="connsiteY3" fmla="*/ 33274 h 33281"/>
                <a:gd name="connsiteX4" fmla="*/ 15415 w 15442"/>
                <a:gd name="connsiteY4" fmla="*/ 16652 h 33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42" h="33281">
                  <a:moveTo>
                    <a:pt x="15415" y="16652"/>
                  </a:moveTo>
                  <a:cubicBezTo>
                    <a:pt x="15415" y="7438"/>
                    <a:pt x="11951" y="-7"/>
                    <a:pt x="7712" y="-7"/>
                  </a:cubicBezTo>
                  <a:cubicBezTo>
                    <a:pt x="3474" y="-7"/>
                    <a:pt x="-28" y="7364"/>
                    <a:pt x="-28" y="16652"/>
                  </a:cubicBezTo>
                  <a:cubicBezTo>
                    <a:pt x="-28" y="25940"/>
                    <a:pt x="3437" y="33274"/>
                    <a:pt x="7712" y="33274"/>
                  </a:cubicBezTo>
                  <a:cubicBezTo>
                    <a:pt x="11988" y="33274"/>
                    <a:pt x="15415" y="25829"/>
                    <a:pt x="15415" y="16652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9" name="Freeform: Shape 289">
              <a:extLst>
                <a:ext uri="{FF2B5EF4-FFF2-40B4-BE49-F238E27FC236}">
                  <a16:creationId xmlns:a16="http://schemas.microsoft.com/office/drawing/2014/main" id="{EDA3FE19-5547-87C5-59D7-39FC01AFC7DF}"/>
                </a:ext>
              </a:extLst>
            </p:cNvPr>
            <p:cNvSpPr/>
            <p:nvPr/>
          </p:nvSpPr>
          <p:spPr>
            <a:xfrm>
              <a:off x="1212775" y="3110760"/>
              <a:ext cx="357506" cy="319287"/>
            </a:xfrm>
            <a:custGeom>
              <a:avLst/>
              <a:gdLst>
                <a:gd name="connsiteX0" fmla="*/ 193865 w 357506"/>
                <a:gd name="connsiteY0" fmla="*/ 238535 h 319287"/>
                <a:gd name="connsiteX1" fmla="*/ 193865 w 357506"/>
                <a:gd name="connsiteY1" fmla="*/ 0 h 319287"/>
                <a:gd name="connsiteX2" fmla="*/ 161210 w 357506"/>
                <a:gd name="connsiteY2" fmla="*/ 0 h 319287"/>
                <a:gd name="connsiteX3" fmla="*/ 161210 w 357506"/>
                <a:gd name="connsiteY3" fmla="*/ 239530 h 319287"/>
                <a:gd name="connsiteX4" fmla="*/ 0 w 357506"/>
                <a:gd name="connsiteY4" fmla="*/ 303254 h 319287"/>
                <a:gd name="connsiteX5" fmla="*/ 0 w 357506"/>
                <a:gd name="connsiteY5" fmla="*/ 319287 h 319287"/>
                <a:gd name="connsiteX6" fmla="*/ 23441 w 357506"/>
                <a:gd name="connsiteY6" fmla="*/ 319287 h 319287"/>
                <a:gd name="connsiteX7" fmla="*/ 23441 w 357506"/>
                <a:gd name="connsiteY7" fmla="*/ 305724 h 319287"/>
                <a:gd name="connsiteX8" fmla="*/ 178753 w 357506"/>
                <a:gd name="connsiteY8" fmla="*/ 273696 h 319287"/>
                <a:gd name="connsiteX9" fmla="*/ 334103 w 357506"/>
                <a:gd name="connsiteY9" fmla="*/ 305724 h 319287"/>
                <a:gd name="connsiteX10" fmla="*/ 334103 w 357506"/>
                <a:gd name="connsiteY10" fmla="*/ 319287 h 319287"/>
                <a:gd name="connsiteX11" fmla="*/ 357507 w 357506"/>
                <a:gd name="connsiteY11" fmla="*/ 319287 h 319287"/>
                <a:gd name="connsiteX12" fmla="*/ 357507 w 357506"/>
                <a:gd name="connsiteY12" fmla="*/ 303254 h 319287"/>
                <a:gd name="connsiteX13" fmla="*/ 193865 w 357506"/>
                <a:gd name="connsiteY13" fmla="*/ 238535 h 319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7506" h="319287">
                  <a:moveTo>
                    <a:pt x="193865" y="238535"/>
                  </a:moveTo>
                  <a:lnTo>
                    <a:pt x="193865" y="0"/>
                  </a:lnTo>
                  <a:lnTo>
                    <a:pt x="161210" y="0"/>
                  </a:lnTo>
                  <a:lnTo>
                    <a:pt x="161210" y="239530"/>
                  </a:lnTo>
                  <a:lnTo>
                    <a:pt x="0" y="303254"/>
                  </a:lnTo>
                  <a:lnTo>
                    <a:pt x="0" y="319287"/>
                  </a:lnTo>
                  <a:lnTo>
                    <a:pt x="23441" y="319287"/>
                  </a:lnTo>
                  <a:lnTo>
                    <a:pt x="23441" y="305724"/>
                  </a:lnTo>
                  <a:lnTo>
                    <a:pt x="178753" y="273696"/>
                  </a:lnTo>
                  <a:lnTo>
                    <a:pt x="334103" y="305724"/>
                  </a:lnTo>
                  <a:lnTo>
                    <a:pt x="334103" y="319287"/>
                  </a:lnTo>
                  <a:lnTo>
                    <a:pt x="357507" y="319287"/>
                  </a:lnTo>
                  <a:lnTo>
                    <a:pt x="357507" y="303254"/>
                  </a:lnTo>
                  <a:lnTo>
                    <a:pt x="193865" y="238535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6" name="Freeform: Shape 290">
              <a:extLst>
                <a:ext uri="{FF2B5EF4-FFF2-40B4-BE49-F238E27FC236}">
                  <a16:creationId xmlns:a16="http://schemas.microsoft.com/office/drawing/2014/main" id="{5CC6909C-0761-F60E-1BBE-3377CC201B17}"/>
                </a:ext>
              </a:extLst>
            </p:cNvPr>
            <p:cNvSpPr/>
            <p:nvPr/>
          </p:nvSpPr>
          <p:spPr>
            <a:xfrm>
              <a:off x="1379809" y="3352575"/>
              <a:ext cx="23366" cy="77435"/>
            </a:xfrm>
            <a:custGeom>
              <a:avLst/>
              <a:gdLst>
                <a:gd name="connsiteX0" fmla="*/ 3501 w 23366"/>
                <a:gd name="connsiteY0" fmla="*/ 77435 h 77435"/>
                <a:gd name="connsiteX1" fmla="*/ 19866 w 23366"/>
                <a:gd name="connsiteY1" fmla="*/ 77435 h 77435"/>
                <a:gd name="connsiteX2" fmla="*/ 23367 w 23366"/>
                <a:gd name="connsiteY2" fmla="*/ 0 h 77435"/>
                <a:gd name="connsiteX3" fmla="*/ 0 w 23366"/>
                <a:gd name="connsiteY3" fmla="*/ 0 h 77435"/>
                <a:gd name="connsiteX4" fmla="*/ 3501 w 23366"/>
                <a:gd name="connsiteY4" fmla="*/ 77435 h 77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66" h="77435">
                  <a:moveTo>
                    <a:pt x="3501" y="77435"/>
                  </a:moveTo>
                  <a:lnTo>
                    <a:pt x="19866" y="77435"/>
                  </a:lnTo>
                  <a:lnTo>
                    <a:pt x="23367" y="0"/>
                  </a:lnTo>
                  <a:lnTo>
                    <a:pt x="0" y="0"/>
                  </a:lnTo>
                  <a:lnTo>
                    <a:pt x="3501" y="77435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7" name="Freeform: Shape 291">
              <a:extLst>
                <a:ext uri="{FF2B5EF4-FFF2-40B4-BE49-F238E27FC236}">
                  <a16:creationId xmlns:a16="http://schemas.microsoft.com/office/drawing/2014/main" id="{ADB1F3D2-3139-D38F-0B56-E52FB04D3C70}"/>
                </a:ext>
              </a:extLst>
            </p:cNvPr>
            <p:cNvSpPr/>
            <p:nvPr/>
          </p:nvSpPr>
          <p:spPr>
            <a:xfrm>
              <a:off x="1348739" y="3101657"/>
              <a:ext cx="83037" cy="49313"/>
            </a:xfrm>
            <a:custGeom>
              <a:avLst/>
              <a:gdLst>
                <a:gd name="connsiteX0" fmla="*/ 0 w 83037"/>
                <a:gd name="connsiteY0" fmla="*/ 0 h 49313"/>
                <a:gd name="connsiteX1" fmla="*/ 83037 w 83037"/>
                <a:gd name="connsiteY1" fmla="*/ 0 h 49313"/>
                <a:gd name="connsiteX2" fmla="*/ 83037 w 83037"/>
                <a:gd name="connsiteY2" fmla="*/ 49314 h 49313"/>
                <a:gd name="connsiteX3" fmla="*/ 0 w 83037"/>
                <a:gd name="connsiteY3" fmla="*/ 49314 h 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037" h="49313">
                  <a:moveTo>
                    <a:pt x="0" y="0"/>
                  </a:moveTo>
                  <a:lnTo>
                    <a:pt x="83037" y="0"/>
                  </a:lnTo>
                  <a:lnTo>
                    <a:pt x="83037" y="49314"/>
                  </a:lnTo>
                  <a:lnTo>
                    <a:pt x="0" y="49314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8" name="Freeform: Shape 292">
              <a:extLst>
                <a:ext uri="{FF2B5EF4-FFF2-40B4-BE49-F238E27FC236}">
                  <a16:creationId xmlns:a16="http://schemas.microsoft.com/office/drawing/2014/main" id="{BD544C46-183A-5A4C-92F9-D34E7766F9E3}"/>
                </a:ext>
              </a:extLst>
            </p:cNvPr>
            <p:cNvSpPr/>
            <p:nvPr/>
          </p:nvSpPr>
          <p:spPr>
            <a:xfrm>
              <a:off x="1237138" y="3056250"/>
              <a:ext cx="298462" cy="63577"/>
            </a:xfrm>
            <a:custGeom>
              <a:avLst/>
              <a:gdLst>
                <a:gd name="connsiteX0" fmla="*/ 276681 w 298462"/>
                <a:gd name="connsiteY0" fmla="*/ 0 h 63577"/>
                <a:gd name="connsiteX1" fmla="*/ 298463 w 298462"/>
                <a:gd name="connsiteY1" fmla="*/ 0 h 63577"/>
                <a:gd name="connsiteX2" fmla="*/ 298463 w 298462"/>
                <a:gd name="connsiteY2" fmla="*/ 63577 h 63577"/>
                <a:gd name="connsiteX3" fmla="*/ 276681 w 298462"/>
                <a:gd name="connsiteY3" fmla="*/ 63577 h 63577"/>
                <a:gd name="connsiteX4" fmla="*/ 21782 w 298462"/>
                <a:gd name="connsiteY4" fmla="*/ 63577 h 63577"/>
                <a:gd name="connsiteX5" fmla="*/ 0 w 298462"/>
                <a:gd name="connsiteY5" fmla="*/ 63577 h 63577"/>
                <a:gd name="connsiteX6" fmla="*/ 0 w 298462"/>
                <a:gd name="connsiteY6" fmla="*/ 0 h 63577"/>
                <a:gd name="connsiteX7" fmla="*/ 21782 w 298462"/>
                <a:gd name="connsiteY7" fmla="*/ 0 h 6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462" h="63577">
                  <a:moveTo>
                    <a:pt x="276681" y="0"/>
                  </a:moveTo>
                  <a:cubicBezTo>
                    <a:pt x="288711" y="0"/>
                    <a:pt x="298463" y="0"/>
                    <a:pt x="298463" y="0"/>
                  </a:cubicBezTo>
                  <a:lnTo>
                    <a:pt x="298463" y="63577"/>
                  </a:lnTo>
                  <a:cubicBezTo>
                    <a:pt x="298463" y="63577"/>
                    <a:pt x="288711" y="63577"/>
                    <a:pt x="276681" y="63577"/>
                  </a:cubicBezTo>
                  <a:lnTo>
                    <a:pt x="21782" y="63577"/>
                  </a:lnTo>
                  <a:cubicBezTo>
                    <a:pt x="9752" y="63577"/>
                    <a:pt x="0" y="63577"/>
                    <a:pt x="0" y="63577"/>
                  </a:cubicBezTo>
                  <a:lnTo>
                    <a:pt x="0" y="0"/>
                  </a:lnTo>
                  <a:cubicBezTo>
                    <a:pt x="0" y="0"/>
                    <a:pt x="9752" y="0"/>
                    <a:pt x="21782" y="0"/>
                  </a:cubicBezTo>
                  <a:close/>
                </a:path>
              </a:pathLst>
            </a:custGeom>
            <a:solidFill>
              <a:srgbClr val="949494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9" name="Freeform: Shape 293">
              <a:extLst>
                <a:ext uri="{FF2B5EF4-FFF2-40B4-BE49-F238E27FC236}">
                  <a16:creationId xmlns:a16="http://schemas.microsoft.com/office/drawing/2014/main" id="{563F2563-8C20-6021-0985-516EB955816F}"/>
                </a:ext>
              </a:extLst>
            </p:cNvPr>
            <p:cNvSpPr/>
            <p:nvPr/>
          </p:nvSpPr>
          <p:spPr>
            <a:xfrm>
              <a:off x="1705250" y="3232386"/>
              <a:ext cx="176647" cy="115683"/>
            </a:xfrm>
            <a:custGeom>
              <a:avLst/>
              <a:gdLst>
                <a:gd name="connsiteX0" fmla="*/ 47959 w 176647"/>
                <a:gd name="connsiteY0" fmla="*/ -7 h 115683"/>
                <a:gd name="connsiteX1" fmla="*/ 73353 w 176647"/>
                <a:gd name="connsiteY1" fmla="*/ 37660 h 115683"/>
                <a:gd name="connsiteX2" fmla="*/ 103465 w 176647"/>
                <a:gd name="connsiteY2" fmla="*/ 35781 h 115683"/>
                <a:gd name="connsiteX3" fmla="*/ 168369 w 176647"/>
                <a:gd name="connsiteY3" fmla="*/ 23544 h 115683"/>
                <a:gd name="connsiteX4" fmla="*/ 174966 w 176647"/>
                <a:gd name="connsiteY4" fmla="*/ 35781 h 115683"/>
                <a:gd name="connsiteX5" fmla="*/ 119461 w 176647"/>
                <a:gd name="connsiteY5" fmla="*/ 87380 h 115683"/>
                <a:gd name="connsiteX6" fmla="*/ 49839 w 176647"/>
                <a:gd name="connsiteY6" fmla="*/ 115612 h 115683"/>
                <a:gd name="connsiteX7" fmla="*/ 29126 w 176647"/>
                <a:gd name="connsiteY7" fmla="*/ 77981 h 115683"/>
                <a:gd name="connsiteX8" fmla="*/ -28 w 176647"/>
                <a:gd name="connsiteY8" fmla="*/ 19637 h 115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6647" h="115683">
                  <a:moveTo>
                    <a:pt x="47959" y="-7"/>
                  </a:moveTo>
                  <a:lnTo>
                    <a:pt x="73353" y="37660"/>
                  </a:lnTo>
                  <a:lnTo>
                    <a:pt x="103465" y="35781"/>
                  </a:lnTo>
                  <a:cubicBezTo>
                    <a:pt x="103465" y="35781"/>
                    <a:pt x="160850" y="25424"/>
                    <a:pt x="168369" y="23544"/>
                  </a:cubicBezTo>
                  <a:cubicBezTo>
                    <a:pt x="175888" y="21665"/>
                    <a:pt x="178726" y="28225"/>
                    <a:pt x="174966" y="35781"/>
                  </a:cubicBezTo>
                  <a:cubicBezTo>
                    <a:pt x="171207" y="43336"/>
                    <a:pt x="136378" y="77170"/>
                    <a:pt x="119461" y="87380"/>
                  </a:cubicBezTo>
                  <a:cubicBezTo>
                    <a:pt x="102544" y="97589"/>
                    <a:pt x="54520" y="114653"/>
                    <a:pt x="49839" y="115612"/>
                  </a:cubicBezTo>
                  <a:cubicBezTo>
                    <a:pt x="45158" y="116570"/>
                    <a:pt x="39482" y="107135"/>
                    <a:pt x="29126" y="77981"/>
                  </a:cubicBezTo>
                  <a:cubicBezTo>
                    <a:pt x="21364" y="57614"/>
                    <a:pt x="11600" y="38073"/>
                    <a:pt x="-28" y="1963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0" name="Freeform: Shape 294">
              <a:extLst>
                <a:ext uri="{FF2B5EF4-FFF2-40B4-BE49-F238E27FC236}">
                  <a16:creationId xmlns:a16="http://schemas.microsoft.com/office/drawing/2014/main" id="{FD7AD9BD-1807-03F2-1C4C-BF3A477A98CD}"/>
                </a:ext>
              </a:extLst>
            </p:cNvPr>
            <p:cNvSpPr/>
            <p:nvPr/>
          </p:nvSpPr>
          <p:spPr>
            <a:xfrm>
              <a:off x="1734551" y="3255619"/>
              <a:ext cx="147321" cy="92594"/>
            </a:xfrm>
            <a:custGeom>
              <a:avLst/>
              <a:gdLst>
                <a:gd name="connsiteX0" fmla="*/ 145666 w 147321"/>
                <a:gd name="connsiteY0" fmla="*/ 12548 h 92594"/>
                <a:gd name="connsiteX1" fmla="*/ 139068 w 147321"/>
                <a:gd name="connsiteY1" fmla="*/ 311 h 92594"/>
                <a:gd name="connsiteX2" fmla="*/ 74312 w 147321"/>
                <a:gd name="connsiteY2" fmla="*/ 12548 h 92594"/>
                <a:gd name="connsiteX3" fmla="*/ 44200 w 147321"/>
                <a:gd name="connsiteY3" fmla="*/ 14427 h 92594"/>
                <a:gd name="connsiteX4" fmla="*/ 48918 w 147321"/>
                <a:gd name="connsiteY4" fmla="*/ 39821 h 92594"/>
                <a:gd name="connsiteX5" fmla="*/ -28 w 147321"/>
                <a:gd name="connsiteY5" fmla="*/ 54896 h 92594"/>
                <a:gd name="connsiteX6" fmla="*/ 20686 w 147321"/>
                <a:gd name="connsiteY6" fmla="*/ 92526 h 92594"/>
                <a:gd name="connsiteX7" fmla="*/ 90307 w 147321"/>
                <a:gd name="connsiteY7" fmla="*/ 64294 h 92594"/>
                <a:gd name="connsiteX8" fmla="*/ 145666 w 147321"/>
                <a:gd name="connsiteY8" fmla="*/ 12548 h 92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21" h="92594">
                  <a:moveTo>
                    <a:pt x="145666" y="12548"/>
                  </a:moveTo>
                  <a:cubicBezTo>
                    <a:pt x="149351" y="5176"/>
                    <a:pt x="146624" y="-1568"/>
                    <a:pt x="139068" y="311"/>
                  </a:cubicBezTo>
                  <a:cubicBezTo>
                    <a:pt x="131513" y="2191"/>
                    <a:pt x="74312" y="12548"/>
                    <a:pt x="74312" y="12548"/>
                  </a:cubicBezTo>
                  <a:lnTo>
                    <a:pt x="44200" y="14427"/>
                  </a:lnTo>
                  <a:cubicBezTo>
                    <a:pt x="44355" y="23096"/>
                    <a:pt x="45951" y="31676"/>
                    <a:pt x="48918" y="39821"/>
                  </a:cubicBezTo>
                  <a:cubicBezTo>
                    <a:pt x="48918" y="39821"/>
                    <a:pt x="6570" y="50178"/>
                    <a:pt x="-28" y="54896"/>
                  </a:cubicBezTo>
                  <a:cubicBezTo>
                    <a:pt x="10329" y="84049"/>
                    <a:pt x="15968" y="93448"/>
                    <a:pt x="20686" y="92526"/>
                  </a:cubicBezTo>
                  <a:cubicBezTo>
                    <a:pt x="25403" y="91605"/>
                    <a:pt x="73353" y="74651"/>
                    <a:pt x="90307" y="64294"/>
                  </a:cubicBezTo>
                  <a:cubicBezTo>
                    <a:pt x="107261" y="53938"/>
                    <a:pt x="141906" y="20066"/>
                    <a:pt x="145666" y="12548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1" name="Freeform: Shape 295">
              <a:extLst>
                <a:ext uri="{FF2B5EF4-FFF2-40B4-BE49-F238E27FC236}">
                  <a16:creationId xmlns:a16="http://schemas.microsoft.com/office/drawing/2014/main" id="{DA0A642D-07AC-CDA7-49D1-5677BC8481A4}"/>
                </a:ext>
              </a:extLst>
            </p:cNvPr>
            <p:cNvSpPr/>
            <p:nvPr/>
          </p:nvSpPr>
          <p:spPr>
            <a:xfrm>
              <a:off x="1745092" y="3259697"/>
              <a:ext cx="136729" cy="88607"/>
            </a:xfrm>
            <a:custGeom>
              <a:avLst/>
              <a:gdLst>
                <a:gd name="connsiteX0" fmla="*/ 135125 w 136729"/>
                <a:gd name="connsiteY0" fmla="*/ 8470 h 88607"/>
                <a:gd name="connsiteX1" fmla="*/ 136451 w 136729"/>
                <a:gd name="connsiteY1" fmla="*/ -7 h 88607"/>
                <a:gd name="connsiteX2" fmla="*/ 68820 w 136729"/>
                <a:gd name="connsiteY2" fmla="*/ 51408 h 88607"/>
                <a:gd name="connsiteX3" fmla="*/ -28 w 136729"/>
                <a:gd name="connsiteY3" fmla="*/ 77502 h 88607"/>
                <a:gd name="connsiteX4" fmla="*/ 9997 w 136729"/>
                <a:gd name="connsiteY4" fmla="*/ 88559 h 88607"/>
                <a:gd name="connsiteX5" fmla="*/ 79619 w 136729"/>
                <a:gd name="connsiteY5" fmla="*/ 60327 h 88607"/>
                <a:gd name="connsiteX6" fmla="*/ 135125 w 136729"/>
                <a:gd name="connsiteY6" fmla="*/ 8470 h 88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729" h="88607">
                  <a:moveTo>
                    <a:pt x="135125" y="8470"/>
                  </a:moveTo>
                  <a:cubicBezTo>
                    <a:pt x="136573" y="5897"/>
                    <a:pt x="137045" y="2886"/>
                    <a:pt x="136451" y="-7"/>
                  </a:cubicBezTo>
                  <a:cubicBezTo>
                    <a:pt x="119239" y="14478"/>
                    <a:pt x="83231" y="44221"/>
                    <a:pt x="68820" y="51408"/>
                  </a:cubicBezTo>
                  <a:cubicBezTo>
                    <a:pt x="55073" y="58263"/>
                    <a:pt x="19396" y="70831"/>
                    <a:pt x="-28" y="77502"/>
                  </a:cubicBezTo>
                  <a:cubicBezTo>
                    <a:pt x="4137" y="85942"/>
                    <a:pt x="7344" y="89001"/>
                    <a:pt x="9997" y="88559"/>
                  </a:cubicBezTo>
                  <a:cubicBezTo>
                    <a:pt x="14678" y="87601"/>
                    <a:pt x="62665" y="70684"/>
                    <a:pt x="79619" y="60327"/>
                  </a:cubicBezTo>
                  <a:cubicBezTo>
                    <a:pt x="96573" y="49970"/>
                    <a:pt x="131365" y="15989"/>
                    <a:pt x="135125" y="8470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2" name="Freeform: Shape 296">
              <a:extLst>
                <a:ext uri="{FF2B5EF4-FFF2-40B4-BE49-F238E27FC236}">
                  <a16:creationId xmlns:a16="http://schemas.microsoft.com/office/drawing/2014/main" id="{2A58D7E2-84F1-E150-4FE9-6DC12B5688A2}"/>
                </a:ext>
              </a:extLst>
            </p:cNvPr>
            <p:cNvSpPr/>
            <p:nvPr/>
          </p:nvSpPr>
          <p:spPr>
            <a:xfrm>
              <a:off x="1560210" y="2914132"/>
              <a:ext cx="208138" cy="358722"/>
            </a:xfrm>
            <a:custGeom>
              <a:avLst/>
              <a:gdLst>
                <a:gd name="connsiteX0" fmla="*/ 99237 w 208138"/>
                <a:gd name="connsiteY0" fmla="*/ 7437 h 358722"/>
                <a:gd name="connsiteX1" fmla="*/ 164767 w 208138"/>
                <a:gd name="connsiteY1" fmla="*/ 210995 h 358722"/>
                <a:gd name="connsiteX2" fmla="*/ 208111 w 208138"/>
                <a:gd name="connsiteY2" fmla="*/ 325803 h 358722"/>
                <a:gd name="connsiteX3" fmla="*/ 175161 w 208138"/>
                <a:gd name="connsiteY3" fmla="*/ 343678 h 358722"/>
                <a:gd name="connsiteX4" fmla="*/ 139410 w 208138"/>
                <a:gd name="connsiteY4" fmla="*/ 358715 h 358722"/>
                <a:gd name="connsiteX5" fmla="*/ 102738 w 208138"/>
                <a:gd name="connsiteY5" fmla="*/ 293811 h 358722"/>
                <a:gd name="connsiteX6" fmla="*/ 36839 w 208138"/>
                <a:gd name="connsiteY6" fmla="*/ 140415 h 358722"/>
                <a:gd name="connsiteX7" fmla="*/ 1088 w 208138"/>
                <a:gd name="connsiteY7" fmla="*/ 71715 h 358722"/>
                <a:gd name="connsiteX8" fmla="*/ 27441 w 208138"/>
                <a:gd name="connsiteY8" fmla="*/ 12450 h 358722"/>
                <a:gd name="connsiteX9" fmla="*/ 99237 w 208138"/>
                <a:gd name="connsiteY9" fmla="*/ 7437 h 35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8138" h="358722">
                  <a:moveTo>
                    <a:pt x="99237" y="7437"/>
                  </a:moveTo>
                  <a:cubicBezTo>
                    <a:pt x="99237" y="7437"/>
                    <a:pt x="140663" y="129063"/>
                    <a:pt x="164767" y="210995"/>
                  </a:cubicBezTo>
                  <a:cubicBezTo>
                    <a:pt x="176362" y="250280"/>
                    <a:pt x="190851" y="288655"/>
                    <a:pt x="208111" y="325803"/>
                  </a:cubicBezTo>
                  <a:cubicBezTo>
                    <a:pt x="208111" y="325803"/>
                    <a:pt x="188356" y="337081"/>
                    <a:pt x="175161" y="343678"/>
                  </a:cubicBezTo>
                  <a:cubicBezTo>
                    <a:pt x="161966" y="350275"/>
                    <a:pt x="139410" y="358715"/>
                    <a:pt x="139410" y="358715"/>
                  </a:cubicBezTo>
                  <a:cubicBezTo>
                    <a:pt x="139410" y="358715"/>
                    <a:pt x="121535" y="330483"/>
                    <a:pt x="102738" y="293811"/>
                  </a:cubicBezTo>
                  <a:cubicBezTo>
                    <a:pt x="83941" y="257139"/>
                    <a:pt x="51913" y="167726"/>
                    <a:pt x="36839" y="140415"/>
                  </a:cubicBezTo>
                  <a:cubicBezTo>
                    <a:pt x="21765" y="113104"/>
                    <a:pt x="1088" y="71715"/>
                    <a:pt x="1088" y="71715"/>
                  </a:cubicBezTo>
                  <a:cubicBezTo>
                    <a:pt x="1088" y="71715"/>
                    <a:pt x="-8310" y="24686"/>
                    <a:pt x="27441" y="12450"/>
                  </a:cubicBezTo>
                  <a:cubicBezTo>
                    <a:pt x="63191" y="213"/>
                    <a:pt x="88917" y="-5721"/>
                    <a:pt x="99237" y="7437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3" name="Freeform: Shape 297">
              <a:extLst>
                <a:ext uri="{FF2B5EF4-FFF2-40B4-BE49-F238E27FC236}">
                  <a16:creationId xmlns:a16="http://schemas.microsoft.com/office/drawing/2014/main" id="{16C2F481-C000-F85A-23AD-A1762994C527}"/>
                </a:ext>
              </a:extLst>
            </p:cNvPr>
            <p:cNvSpPr/>
            <p:nvPr/>
          </p:nvSpPr>
          <p:spPr>
            <a:xfrm>
              <a:off x="1509064" y="2901231"/>
              <a:ext cx="24393" cy="21597"/>
            </a:xfrm>
            <a:custGeom>
              <a:avLst/>
              <a:gdLst>
                <a:gd name="connsiteX0" fmla="*/ 7602 w 24393"/>
                <a:gd name="connsiteY0" fmla="*/ -7 h 21597"/>
                <a:gd name="connsiteX1" fmla="*/ 24261 w 24393"/>
                <a:gd name="connsiteY1" fmla="*/ 12561 h 21597"/>
                <a:gd name="connsiteX2" fmla="*/ 20206 w 24393"/>
                <a:gd name="connsiteY2" fmla="*/ 17094 h 21597"/>
                <a:gd name="connsiteX3" fmla="*/ -28 w 24393"/>
                <a:gd name="connsiteY3" fmla="*/ 21591 h 21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93" h="21597">
                  <a:moveTo>
                    <a:pt x="7602" y="-7"/>
                  </a:moveTo>
                  <a:cubicBezTo>
                    <a:pt x="7602" y="-7"/>
                    <a:pt x="23818" y="10792"/>
                    <a:pt x="24261" y="12561"/>
                  </a:cubicBezTo>
                  <a:cubicBezTo>
                    <a:pt x="24703" y="14330"/>
                    <a:pt x="23818" y="15731"/>
                    <a:pt x="20206" y="17094"/>
                  </a:cubicBezTo>
                  <a:cubicBezTo>
                    <a:pt x="16595" y="18458"/>
                    <a:pt x="-28" y="21591"/>
                    <a:pt x="-28" y="21591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4" name="Freeform: Shape 298">
              <a:extLst>
                <a:ext uri="{FF2B5EF4-FFF2-40B4-BE49-F238E27FC236}">
                  <a16:creationId xmlns:a16="http://schemas.microsoft.com/office/drawing/2014/main" id="{944F9F93-40E4-9A7A-F5FD-E4715DEE34FB}"/>
                </a:ext>
              </a:extLst>
            </p:cNvPr>
            <p:cNvSpPr/>
            <p:nvPr/>
          </p:nvSpPr>
          <p:spPr>
            <a:xfrm>
              <a:off x="1552373" y="3308568"/>
              <a:ext cx="120968" cy="147654"/>
            </a:xfrm>
            <a:custGeom>
              <a:avLst/>
              <a:gdLst>
                <a:gd name="connsiteX0" fmla="*/ 24479 w 120968"/>
                <a:gd name="connsiteY0" fmla="*/ 1099 h 147654"/>
                <a:gd name="connsiteX1" fmla="*/ 13422 w 120968"/>
                <a:gd name="connsiteY1" fmla="*/ 56162 h 147654"/>
                <a:gd name="connsiteX2" fmla="*/ 706 w 120968"/>
                <a:gd name="connsiteY2" fmla="*/ 104297 h 147654"/>
                <a:gd name="connsiteX3" fmla="*/ 34835 w 120968"/>
                <a:gd name="connsiteY3" fmla="*/ 118634 h 147654"/>
                <a:gd name="connsiteX4" fmla="*/ 77257 w 120968"/>
                <a:gd name="connsiteY4" fmla="*/ 143143 h 147654"/>
                <a:gd name="connsiteX5" fmla="*/ 120932 w 120968"/>
                <a:gd name="connsiteY5" fmla="*/ 143143 h 147654"/>
                <a:gd name="connsiteX6" fmla="*/ 61777 w 120968"/>
                <a:gd name="connsiteY6" fmla="*/ 61691 h 147654"/>
                <a:gd name="connsiteX7" fmla="*/ 68817 w 120968"/>
                <a:gd name="connsiteY7" fmla="*/ -7 h 14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968" h="147654">
                  <a:moveTo>
                    <a:pt x="24479" y="1099"/>
                  </a:moveTo>
                  <a:cubicBezTo>
                    <a:pt x="24479" y="1099"/>
                    <a:pt x="17992" y="41456"/>
                    <a:pt x="13422" y="56162"/>
                  </a:cubicBezTo>
                  <a:cubicBezTo>
                    <a:pt x="8851" y="70868"/>
                    <a:pt x="-3090" y="97662"/>
                    <a:pt x="706" y="104297"/>
                  </a:cubicBezTo>
                  <a:cubicBezTo>
                    <a:pt x="4502" y="110931"/>
                    <a:pt x="24589" y="117786"/>
                    <a:pt x="34835" y="118634"/>
                  </a:cubicBezTo>
                  <a:cubicBezTo>
                    <a:pt x="45081" y="119481"/>
                    <a:pt x="58202" y="136251"/>
                    <a:pt x="77257" y="143143"/>
                  </a:cubicBezTo>
                  <a:cubicBezTo>
                    <a:pt x="96312" y="150035"/>
                    <a:pt x="121485" y="148193"/>
                    <a:pt x="120932" y="143143"/>
                  </a:cubicBezTo>
                  <a:cubicBezTo>
                    <a:pt x="120379" y="138094"/>
                    <a:pt x="64505" y="76802"/>
                    <a:pt x="61777" y="61691"/>
                  </a:cubicBezTo>
                  <a:cubicBezTo>
                    <a:pt x="59050" y="46579"/>
                    <a:pt x="68817" y="-7"/>
                    <a:pt x="68817" y="-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5" name="Freeform: Shape 299">
              <a:extLst>
                <a:ext uri="{FF2B5EF4-FFF2-40B4-BE49-F238E27FC236}">
                  <a16:creationId xmlns:a16="http://schemas.microsoft.com/office/drawing/2014/main" id="{2233DBB2-7EB7-470B-FA22-65A913F4FEB3}"/>
                </a:ext>
              </a:extLst>
            </p:cNvPr>
            <p:cNvSpPr/>
            <p:nvPr/>
          </p:nvSpPr>
          <p:spPr>
            <a:xfrm>
              <a:off x="1552560" y="3370266"/>
              <a:ext cx="120965" cy="85957"/>
            </a:xfrm>
            <a:custGeom>
              <a:avLst/>
              <a:gdLst>
                <a:gd name="connsiteX0" fmla="*/ 54772 w 120965"/>
                <a:gd name="connsiteY0" fmla="*/ 9981 h 85957"/>
                <a:gd name="connsiteX1" fmla="*/ 53261 w 120965"/>
                <a:gd name="connsiteY1" fmla="*/ 14220 h 85957"/>
                <a:gd name="connsiteX2" fmla="*/ 9697 w 120965"/>
                <a:gd name="connsiteY2" fmla="*/ 5448 h 85957"/>
                <a:gd name="connsiteX3" fmla="*/ 704 w 120965"/>
                <a:gd name="connsiteY3" fmla="*/ 42599 h 85957"/>
                <a:gd name="connsiteX4" fmla="*/ 34833 w 120965"/>
                <a:gd name="connsiteY4" fmla="*/ 56936 h 85957"/>
                <a:gd name="connsiteX5" fmla="*/ 77255 w 120965"/>
                <a:gd name="connsiteY5" fmla="*/ 81446 h 85957"/>
                <a:gd name="connsiteX6" fmla="*/ 120929 w 120965"/>
                <a:gd name="connsiteY6" fmla="*/ 81446 h 85957"/>
                <a:gd name="connsiteX7" fmla="*/ 61775 w 120965"/>
                <a:gd name="connsiteY7" fmla="*/ -7 h 85957"/>
                <a:gd name="connsiteX8" fmla="*/ 54772 w 120965"/>
                <a:gd name="connsiteY8" fmla="*/ 9981 h 85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965" h="85957">
                  <a:moveTo>
                    <a:pt x="54772" y="9981"/>
                  </a:moveTo>
                  <a:lnTo>
                    <a:pt x="53261" y="14220"/>
                  </a:lnTo>
                  <a:cubicBezTo>
                    <a:pt x="38515" y="12539"/>
                    <a:pt x="23942" y="9605"/>
                    <a:pt x="9697" y="5448"/>
                  </a:cubicBezTo>
                  <a:cubicBezTo>
                    <a:pt x="4500" y="19859"/>
                    <a:pt x="-2282" y="37402"/>
                    <a:pt x="704" y="42599"/>
                  </a:cubicBezTo>
                  <a:cubicBezTo>
                    <a:pt x="4389" y="49270"/>
                    <a:pt x="24587" y="56088"/>
                    <a:pt x="34833" y="56936"/>
                  </a:cubicBezTo>
                  <a:cubicBezTo>
                    <a:pt x="45079" y="57784"/>
                    <a:pt x="58200" y="74554"/>
                    <a:pt x="77255" y="81446"/>
                  </a:cubicBezTo>
                  <a:cubicBezTo>
                    <a:pt x="96309" y="88338"/>
                    <a:pt x="121482" y="86495"/>
                    <a:pt x="120929" y="81446"/>
                  </a:cubicBezTo>
                  <a:cubicBezTo>
                    <a:pt x="120376" y="76396"/>
                    <a:pt x="64502" y="15104"/>
                    <a:pt x="61775" y="-7"/>
                  </a:cubicBezTo>
                  <a:cubicBezTo>
                    <a:pt x="58933" y="2938"/>
                    <a:pt x="56571" y="6306"/>
                    <a:pt x="54772" y="9981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6" name="Freeform: Shape 300">
              <a:extLst>
                <a:ext uri="{FF2B5EF4-FFF2-40B4-BE49-F238E27FC236}">
                  <a16:creationId xmlns:a16="http://schemas.microsoft.com/office/drawing/2014/main" id="{83F324C9-1C61-9713-2CB3-1998E398D371}"/>
                </a:ext>
              </a:extLst>
            </p:cNvPr>
            <p:cNvSpPr/>
            <p:nvPr/>
          </p:nvSpPr>
          <p:spPr>
            <a:xfrm>
              <a:off x="1552508" y="3404874"/>
              <a:ext cx="120861" cy="51373"/>
            </a:xfrm>
            <a:custGeom>
              <a:avLst/>
              <a:gdLst>
                <a:gd name="connsiteX0" fmla="*/ 76164 w 120861"/>
                <a:gd name="connsiteY0" fmla="*/ 36849 h 51373"/>
                <a:gd name="connsiteX1" fmla="*/ 27366 w 120861"/>
                <a:gd name="connsiteY1" fmla="*/ 10018 h 51373"/>
                <a:gd name="connsiteX2" fmla="*/ 461 w 120861"/>
                <a:gd name="connsiteY2" fmla="*/ -7 h 51373"/>
                <a:gd name="connsiteX3" fmla="*/ 756 w 120861"/>
                <a:gd name="connsiteY3" fmla="*/ 7991 h 51373"/>
                <a:gd name="connsiteX4" fmla="*/ 34885 w 120861"/>
                <a:gd name="connsiteY4" fmla="*/ 22328 h 51373"/>
                <a:gd name="connsiteX5" fmla="*/ 77307 w 120861"/>
                <a:gd name="connsiteY5" fmla="*/ 46838 h 51373"/>
                <a:gd name="connsiteX6" fmla="*/ 120834 w 120861"/>
                <a:gd name="connsiteY6" fmla="*/ 47538 h 51373"/>
                <a:gd name="connsiteX7" fmla="*/ 76164 w 120861"/>
                <a:gd name="connsiteY7" fmla="*/ 36849 h 51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861" h="51373">
                  <a:moveTo>
                    <a:pt x="76164" y="36849"/>
                  </a:moveTo>
                  <a:cubicBezTo>
                    <a:pt x="61090" y="29478"/>
                    <a:pt x="47453" y="16800"/>
                    <a:pt x="27366" y="10018"/>
                  </a:cubicBezTo>
                  <a:cubicBezTo>
                    <a:pt x="14319" y="5558"/>
                    <a:pt x="5253" y="1983"/>
                    <a:pt x="461" y="-7"/>
                  </a:cubicBezTo>
                  <a:cubicBezTo>
                    <a:pt x="-280" y="2625"/>
                    <a:pt x="-176" y="5422"/>
                    <a:pt x="756" y="7991"/>
                  </a:cubicBezTo>
                  <a:cubicBezTo>
                    <a:pt x="4442" y="14662"/>
                    <a:pt x="24639" y="21480"/>
                    <a:pt x="34885" y="22328"/>
                  </a:cubicBezTo>
                  <a:cubicBezTo>
                    <a:pt x="45131" y="23176"/>
                    <a:pt x="58252" y="39945"/>
                    <a:pt x="77307" y="46838"/>
                  </a:cubicBezTo>
                  <a:cubicBezTo>
                    <a:pt x="95514" y="53472"/>
                    <a:pt x="119176" y="52034"/>
                    <a:pt x="120834" y="47538"/>
                  </a:cubicBezTo>
                  <a:cubicBezTo>
                    <a:pt x="108266" y="45695"/>
                    <a:pt x="86521" y="41936"/>
                    <a:pt x="76164" y="36849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7" name="Freeform: Shape 301">
              <a:extLst>
                <a:ext uri="{FF2B5EF4-FFF2-40B4-BE49-F238E27FC236}">
                  <a16:creationId xmlns:a16="http://schemas.microsoft.com/office/drawing/2014/main" id="{55C6522F-9CD1-7E5D-833B-0942C92B2A34}"/>
                </a:ext>
              </a:extLst>
            </p:cNvPr>
            <p:cNvSpPr/>
            <p:nvPr/>
          </p:nvSpPr>
          <p:spPr>
            <a:xfrm>
              <a:off x="1412905" y="3006567"/>
              <a:ext cx="235417" cy="318196"/>
            </a:xfrm>
            <a:custGeom>
              <a:avLst/>
              <a:gdLst>
                <a:gd name="connsiteX0" fmla="*/ 153959 w 235417"/>
                <a:gd name="connsiteY0" fmla="*/ -7 h 318196"/>
                <a:gd name="connsiteX1" fmla="*/ 233974 w 235417"/>
                <a:gd name="connsiteY1" fmla="*/ 46100 h 318196"/>
                <a:gd name="connsiteX2" fmla="*/ 226419 w 235417"/>
                <a:gd name="connsiteY2" fmla="*/ 318027 h 318196"/>
                <a:gd name="connsiteX3" fmla="*/ 193506 w 235417"/>
                <a:gd name="connsiteY3" fmla="*/ 316147 h 318196"/>
                <a:gd name="connsiteX4" fmla="*/ 152964 w 235417"/>
                <a:gd name="connsiteY4" fmla="*/ 307707 h 318196"/>
                <a:gd name="connsiteX5" fmla="*/ 144487 w 235417"/>
                <a:gd name="connsiteY5" fmla="*/ 195700 h 318196"/>
                <a:gd name="connsiteX6" fmla="*/ 136010 w 235417"/>
                <a:gd name="connsiteY6" fmla="*/ 70573 h 318196"/>
                <a:gd name="connsiteX7" fmla="*/ 526 w 235417"/>
                <a:gd name="connsiteY7" fmla="*/ 52698 h 318196"/>
                <a:gd name="connsiteX8" fmla="*/ 153959 w 235417"/>
                <a:gd name="connsiteY8" fmla="*/ -7 h 31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417" h="318196">
                  <a:moveTo>
                    <a:pt x="153959" y="-7"/>
                  </a:moveTo>
                  <a:cubicBezTo>
                    <a:pt x="153959" y="-7"/>
                    <a:pt x="228298" y="8470"/>
                    <a:pt x="233974" y="46100"/>
                  </a:cubicBezTo>
                  <a:cubicBezTo>
                    <a:pt x="239650" y="83731"/>
                    <a:pt x="226419" y="318027"/>
                    <a:pt x="226419" y="318027"/>
                  </a:cubicBezTo>
                  <a:cubicBezTo>
                    <a:pt x="215413" y="318521"/>
                    <a:pt x="204386" y="317891"/>
                    <a:pt x="193506" y="316147"/>
                  </a:cubicBezTo>
                  <a:cubicBezTo>
                    <a:pt x="178432" y="313346"/>
                    <a:pt x="152964" y="307707"/>
                    <a:pt x="152964" y="307707"/>
                  </a:cubicBezTo>
                  <a:cubicBezTo>
                    <a:pt x="152964" y="307707"/>
                    <a:pt x="149278" y="227729"/>
                    <a:pt x="144487" y="195700"/>
                  </a:cubicBezTo>
                  <a:cubicBezTo>
                    <a:pt x="139696" y="163672"/>
                    <a:pt x="136010" y="70573"/>
                    <a:pt x="136010" y="70573"/>
                  </a:cubicBezTo>
                  <a:cubicBezTo>
                    <a:pt x="136010" y="70573"/>
                    <a:pt x="11804" y="60216"/>
                    <a:pt x="526" y="52698"/>
                  </a:cubicBezTo>
                  <a:cubicBezTo>
                    <a:pt x="-10752" y="45179"/>
                    <a:pt x="153959" y="-7"/>
                    <a:pt x="153959" y="-7"/>
                  </a:cubicBezTo>
                  <a:close/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8" name="Freeform: Shape 302">
              <a:extLst>
                <a:ext uri="{FF2B5EF4-FFF2-40B4-BE49-F238E27FC236}">
                  <a16:creationId xmlns:a16="http://schemas.microsoft.com/office/drawing/2014/main" id="{DE101677-6699-4C6B-B710-C15F4F083D05}"/>
                </a:ext>
              </a:extLst>
            </p:cNvPr>
            <p:cNvSpPr/>
            <p:nvPr/>
          </p:nvSpPr>
          <p:spPr>
            <a:xfrm>
              <a:off x="1273109" y="2896318"/>
              <a:ext cx="406415" cy="179798"/>
            </a:xfrm>
            <a:custGeom>
              <a:avLst/>
              <a:gdLst>
                <a:gd name="connsiteX0" fmla="*/ 374691 w 406415"/>
                <a:gd name="connsiteY0" fmla="*/ 91409 h 179798"/>
                <a:gd name="connsiteX1" fmla="*/ 165789 w 406415"/>
                <a:gd name="connsiteY1" fmla="*/ 170466 h 179798"/>
                <a:gd name="connsiteX2" fmla="*/ 48180 w 406415"/>
                <a:gd name="connsiteY2" fmla="*/ 171424 h 179798"/>
                <a:gd name="connsiteX3" fmla="*/ 4690 w 406415"/>
                <a:gd name="connsiteY3" fmla="*/ 124543 h 179798"/>
                <a:gd name="connsiteX4" fmla="*/ 1004 w 406415"/>
                <a:gd name="connsiteY4" fmla="*/ 107441 h 179798"/>
                <a:gd name="connsiteX5" fmla="*/ 101696 w 406415"/>
                <a:gd name="connsiteY5" fmla="*/ 35903 h 179798"/>
                <a:gd name="connsiteX6" fmla="*/ 204894 w 406415"/>
                <a:gd name="connsiteY6" fmla="*/ 30596 h 179798"/>
                <a:gd name="connsiteX7" fmla="*/ 368094 w 406415"/>
                <a:gd name="connsiteY7" fmla="*/ 152 h 179798"/>
                <a:gd name="connsiteX8" fmla="*/ 406387 w 406415"/>
                <a:gd name="connsiteY8" fmla="*/ 82711 h 179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6415" h="179798">
                  <a:moveTo>
                    <a:pt x="374691" y="91409"/>
                  </a:moveTo>
                  <a:cubicBezTo>
                    <a:pt x="374691" y="91409"/>
                    <a:pt x="208137" y="156350"/>
                    <a:pt x="165789" y="170466"/>
                  </a:cubicBezTo>
                  <a:cubicBezTo>
                    <a:pt x="127569" y="182566"/>
                    <a:pt x="86592" y="182898"/>
                    <a:pt x="48180" y="171424"/>
                  </a:cubicBezTo>
                  <a:cubicBezTo>
                    <a:pt x="19027" y="161989"/>
                    <a:pt x="4690" y="124543"/>
                    <a:pt x="4690" y="124543"/>
                  </a:cubicBezTo>
                  <a:cubicBezTo>
                    <a:pt x="4690" y="124543"/>
                    <a:pt x="-2681" y="115882"/>
                    <a:pt x="1004" y="107441"/>
                  </a:cubicBezTo>
                  <a:cubicBezTo>
                    <a:pt x="4690" y="99001"/>
                    <a:pt x="65024" y="45302"/>
                    <a:pt x="101696" y="35903"/>
                  </a:cubicBezTo>
                  <a:cubicBezTo>
                    <a:pt x="138368" y="26505"/>
                    <a:pt x="204894" y="30596"/>
                    <a:pt x="204894" y="30596"/>
                  </a:cubicBezTo>
                  <a:cubicBezTo>
                    <a:pt x="204894" y="30596"/>
                    <a:pt x="348339" y="-2575"/>
                    <a:pt x="368094" y="152"/>
                  </a:cubicBezTo>
                  <a:cubicBezTo>
                    <a:pt x="387849" y="2880"/>
                    <a:pt x="403586" y="73312"/>
                    <a:pt x="406387" y="82711"/>
                  </a:cubicBezTo>
                </a:path>
              </a:pathLst>
            </a:custGeom>
            <a:solidFill>
              <a:srgbClr val="EAE4E4"/>
            </a:solidFill>
            <a:ln w="367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9" name="Freeform: Shape 303">
              <a:extLst>
                <a:ext uri="{FF2B5EF4-FFF2-40B4-BE49-F238E27FC236}">
                  <a16:creationId xmlns:a16="http://schemas.microsoft.com/office/drawing/2014/main" id="{C791330B-342F-6C99-774F-5814412F2D26}"/>
                </a:ext>
              </a:extLst>
            </p:cNvPr>
            <p:cNvSpPr/>
            <p:nvPr/>
          </p:nvSpPr>
          <p:spPr>
            <a:xfrm>
              <a:off x="1320359" y="2954821"/>
              <a:ext cx="47913" cy="73381"/>
            </a:xfrm>
            <a:custGeom>
              <a:avLst/>
              <a:gdLst>
                <a:gd name="connsiteX0" fmla="*/ -28 w 47913"/>
                <a:gd name="connsiteY0" fmla="*/ 73374 h 73381"/>
                <a:gd name="connsiteX1" fmla="*/ 47886 w 47913"/>
                <a:gd name="connsiteY1" fmla="*/ -7 h 73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913" h="73381">
                  <a:moveTo>
                    <a:pt x="-28" y="73374"/>
                  </a:moveTo>
                  <a:cubicBezTo>
                    <a:pt x="-28" y="73374"/>
                    <a:pt x="13167" y="21775"/>
                    <a:pt x="47886" y="-7"/>
                  </a:cubicBezTo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0" name="Freeform: Shape 304">
              <a:extLst>
                <a:ext uri="{FF2B5EF4-FFF2-40B4-BE49-F238E27FC236}">
                  <a16:creationId xmlns:a16="http://schemas.microsoft.com/office/drawing/2014/main" id="{13CEAB09-52FB-C598-9AE6-60B7BF15F875}"/>
                </a:ext>
              </a:extLst>
            </p:cNvPr>
            <p:cNvSpPr/>
            <p:nvPr/>
          </p:nvSpPr>
          <p:spPr>
            <a:xfrm>
              <a:off x="1312841" y="2967057"/>
              <a:ext cx="32949" cy="26352"/>
            </a:xfrm>
            <a:custGeom>
              <a:avLst/>
              <a:gdLst>
                <a:gd name="connsiteX0" fmla="*/ -28 w 32949"/>
                <a:gd name="connsiteY0" fmla="*/ 26345 h 26352"/>
                <a:gd name="connsiteX1" fmla="*/ 32922 w 32949"/>
                <a:gd name="connsiteY1" fmla="*/ -7 h 26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949" h="26352">
                  <a:moveTo>
                    <a:pt x="-28" y="26345"/>
                  </a:moveTo>
                  <a:cubicBezTo>
                    <a:pt x="-28" y="26345"/>
                    <a:pt x="14088" y="4674"/>
                    <a:pt x="32922" y="-7"/>
                  </a:cubicBezTo>
                </a:path>
              </a:pathLst>
            </a:custGeom>
            <a:noFill/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1" name="Freeform: Shape 305">
              <a:extLst>
                <a:ext uri="{FF2B5EF4-FFF2-40B4-BE49-F238E27FC236}">
                  <a16:creationId xmlns:a16="http://schemas.microsoft.com/office/drawing/2014/main" id="{434F1AF3-E504-5E52-92C2-212E6158226E}"/>
                </a:ext>
              </a:extLst>
            </p:cNvPr>
            <p:cNvSpPr/>
            <p:nvPr/>
          </p:nvSpPr>
          <p:spPr>
            <a:xfrm>
              <a:off x="1259817" y="2585792"/>
              <a:ext cx="225717" cy="438997"/>
            </a:xfrm>
            <a:custGeom>
              <a:avLst/>
              <a:gdLst>
                <a:gd name="connsiteX0" fmla="*/ 156599 w 225717"/>
                <a:gd name="connsiteY0" fmla="*/ 20065 h 438997"/>
                <a:gd name="connsiteX1" fmla="*/ 180445 w 225717"/>
                <a:gd name="connsiteY1" fmla="*/ 37757 h 438997"/>
                <a:gd name="connsiteX2" fmla="*/ 205102 w 225717"/>
                <a:gd name="connsiteY2" fmla="*/ 110917 h 438997"/>
                <a:gd name="connsiteX3" fmla="*/ 225115 w 225717"/>
                <a:gd name="connsiteY3" fmla="*/ 199372 h 438997"/>
                <a:gd name="connsiteX4" fmla="*/ 202006 w 225717"/>
                <a:gd name="connsiteY4" fmla="*/ 240946 h 438997"/>
                <a:gd name="connsiteX5" fmla="*/ 208161 w 225717"/>
                <a:gd name="connsiteY5" fmla="*/ 307287 h 438997"/>
                <a:gd name="connsiteX6" fmla="*/ 218186 w 225717"/>
                <a:gd name="connsiteY6" fmla="*/ 341159 h 438997"/>
                <a:gd name="connsiteX7" fmla="*/ 161980 w 225717"/>
                <a:gd name="connsiteY7" fmla="*/ 356564 h 438997"/>
                <a:gd name="connsiteX8" fmla="*/ 68808 w 225717"/>
                <a:gd name="connsiteY8" fmla="*/ 377352 h 438997"/>
                <a:gd name="connsiteX9" fmla="*/ 17983 w 225717"/>
                <a:gd name="connsiteY9" fmla="*/ 435105 h 438997"/>
                <a:gd name="connsiteX10" fmla="*/ 4899 w 225717"/>
                <a:gd name="connsiteY10" fmla="*/ 435879 h 438997"/>
                <a:gd name="connsiteX11" fmla="*/ 3351 w 225717"/>
                <a:gd name="connsiteY11" fmla="*/ 388924 h 438997"/>
                <a:gd name="connsiteX12" fmla="*/ 27234 w 225717"/>
                <a:gd name="connsiteY12" fmla="*/ 200256 h 438997"/>
                <a:gd name="connsiteX13" fmla="*/ 28008 w 225717"/>
                <a:gd name="connsiteY13" fmla="*/ 60202 h 438997"/>
                <a:gd name="connsiteX14" fmla="*/ 101131 w 225717"/>
                <a:gd name="connsiteY14" fmla="*/ 163 h 438997"/>
                <a:gd name="connsiteX15" fmla="*/ 156599 w 225717"/>
                <a:gd name="connsiteY15" fmla="*/ 20065 h 438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5717" h="438997">
                  <a:moveTo>
                    <a:pt x="156599" y="20065"/>
                  </a:moveTo>
                  <a:cubicBezTo>
                    <a:pt x="166661" y="22395"/>
                    <a:pt x="175297" y="28804"/>
                    <a:pt x="180445" y="37757"/>
                  </a:cubicBezTo>
                  <a:cubicBezTo>
                    <a:pt x="189696" y="53163"/>
                    <a:pt x="205102" y="110917"/>
                    <a:pt x="205102" y="110917"/>
                  </a:cubicBezTo>
                  <a:cubicBezTo>
                    <a:pt x="205102" y="110917"/>
                    <a:pt x="229722" y="182529"/>
                    <a:pt x="225115" y="199372"/>
                  </a:cubicBezTo>
                  <a:cubicBezTo>
                    <a:pt x="220508" y="216215"/>
                    <a:pt x="202006" y="240946"/>
                    <a:pt x="202006" y="240946"/>
                  </a:cubicBezTo>
                  <a:cubicBezTo>
                    <a:pt x="202006" y="240946"/>
                    <a:pt x="203554" y="296231"/>
                    <a:pt x="208161" y="307287"/>
                  </a:cubicBezTo>
                  <a:cubicBezTo>
                    <a:pt x="212208" y="318355"/>
                    <a:pt x="215559" y="329670"/>
                    <a:pt x="218186" y="341159"/>
                  </a:cubicBezTo>
                  <a:cubicBezTo>
                    <a:pt x="218186" y="341159"/>
                    <a:pt x="205102" y="350410"/>
                    <a:pt x="161980" y="356564"/>
                  </a:cubicBezTo>
                  <a:cubicBezTo>
                    <a:pt x="118858" y="362720"/>
                    <a:pt x="83440" y="365815"/>
                    <a:pt x="68808" y="377352"/>
                  </a:cubicBezTo>
                  <a:cubicBezTo>
                    <a:pt x="54176" y="388888"/>
                    <a:pt x="21853" y="432636"/>
                    <a:pt x="17983" y="435105"/>
                  </a:cubicBezTo>
                  <a:cubicBezTo>
                    <a:pt x="14113" y="437575"/>
                    <a:pt x="7995" y="442034"/>
                    <a:pt x="4899" y="435879"/>
                  </a:cubicBezTo>
                  <a:cubicBezTo>
                    <a:pt x="1803" y="429724"/>
                    <a:pt x="-3578" y="416640"/>
                    <a:pt x="3351" y="388924"/>
                  </a:cubicBezTo>
                  <a:cubicBezTo>
                    <a:pt x="10280" y="361208"/>
                    <a:pt x="22626" y="251855"/>
                    <a:pt x="27234" y="200256"/>
                  </a:cubicBezTo>
                  <a:cubicBezTo>
                    <a:pt x="31841" y="148657"/>
                    <a:pt x="21853" y="96321"/>
                    <a:pt x="28008" y="60202"/>
                  </a:cubicBezTo>
                  <a:cubicBezTo>
                    <a:pt x="34163" y="24083"/>
                    <a:pt x="88821" y="2485"/>
                    <a:pt x="101131" y="163"/>
                  </a:cubicBezTo>
                  <a:cubicBezTo>
                    <a:pt x="113441" y="-2159"/>
                    <a:pt x="156599" y="20065"/>
                    <a:pt x="156599" y="20065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2" name="Freeform: Shape 306">
              <a:extLst>
                <a:ext uri="{FF2B5EF4-FFF2-40B4-BE49-F238E27FC236}">
                  <a16:creationId xmlns:a16="http://schemas.microsoft.com/office/drawing/2014/main" id="{1293B70A-D8AC-4B54-B595-F9B23A87865C}"/>
                </a:ext>
              </a:extLst>
            </p:cNvPr>
            <p:cNvSpPr/>
            <p:nvPr/>
          </p:nvSpPr>
          <p:spPr>
            <a:xfrm>
              <a:off x="1286488" y="2937867"/>
              <a:ext cx="125164" cy="36708"/>
            </a:xfrm>
            <a:custGeom>
              <a:avLst/>
              <a:gdLst>
                <a:gd name="connsiteX0" fmla="*/ -28 w 125164"/>
                <a:gd name="connsiteY0" fmla="*/ 36702 h 36708"/>
                <a:gd name="connsiteX1" fmla="*/ 34802 w 125164"/>
                <a:gd name="connsiteY1" fmla="*/ 4711 h 36708"/>
                <a:gd name="connsiteX2" fmla="*/ 125137 w 125164"/>
                <a:gd name="connsiteY2" fmla="*/ -7 h 3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5164" h="36708">
                  <a:moveTo>
                    <a:pt x="-28" y="36702"/>
                  </a:moveTo>
                  <a:cubicBezTo>
                    <a:pt x="-28" y="36702"/>
                    <a:pt x="23524" y="9428"/>
                    <a:pt x="34802" y="4711"/>
                  </a:cubicBezTo>
                  <a:cubicBezTo>
                    <a:pt x="46080" y="-7"/>
                    <a:pt x="125137" y="-7"/>
                    <a:pt x="125137" y="-7"/>
                  </a:cubicBezTo>
                </a:path>
              </a:pathLst>
            </a:custGeom>
            <a:noFill/>
            <a:ln w="367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3" name="Freeform: Shape 307">
              <a:extLst>
                <a:ext uri="{FF2B5EF4-FFF2-40B4-BE49-F238E27FC236}">
                  <a16:creationId xmlns:a16="http://schemas.microsoft.com/office/drawing/2014/main" id="{5C4F3783-F8A8-18D0-FCFE-1D482A81EF81}"/>
                </a:ext>
              </a:extLst>
            </p:cNvPr>
            <p:cNvSpPr/>
            <p:nvPr/>
          </p:nvSpPr>
          <p:spPr>
            <a:xfrm>
              <a:off x="1303442" y="2929513"/>
              <a:ext cx="61144" cy="10233"/>
            </a:xfrm>
            <a:custGeom>
              <a:avLst/>
              <a:gdLst>
                <a:gd name="connsiteX0" fmla="*/ -28 w 61144"/>
                <a:gd name="connsiteY0" fmla="*/ 10227 h 10233"/>
                <a:gd name="connsiteX1" fmla="*/ 23487 w 61144"/>
                <a:gd name="connsiteY1" fmla="*/ 828 h 10233"/>
                <a:gd name="connsiteX2" fmla="*/ 61117 w 61144"/>
                <a:gd name="connsiteY2" fmla="*/ 828 h 10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144" h="10233">
                  <a:moveTo>
                    <a:pt x="-28" y="10227"/>
                  </a:moveTo>
                  <a:cubicBezTo>
                    <a:pt x="7344" y="6036"/>
                    <a:pt x="15257" y="2874"/>
                    <a:pt x="23487" y="828"/>
                  </a:cubicBezTo>
                  <a:cubicBezTo>
                    <a:pt x="33843" y="-1051"/>
                    <a:pt x="61117" y="828"/>
                    <a:pt x="61117" y="828"/>
                  </a:cubicBezTo>
                </a:path>
              </a:pathLst>
            </a:custGeom>
            <a:noFill/>
            <a:ln w="367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4" name="Freeform: Shape 308">
              <a:extLst>
                <a:ext uri="{FF2B5EF4-FFF2-40B4-BE49-F238E27FC236}">
                  <a16:creationId xmlns:a16="http://schemas.microsoft.com/office/drawing/2014/main" id="{041A9141-6731-2F02-58F4-FCD83250F492}"/>
                </a:ext>
              </a:extLst>
            </p:cNvPr>
            <p:cNvSpPr/>
            <p:nvPr/>
          </p:nvSpPr>
          <p:spPr>
            <a:xfrm>
              <a:off x="1344832" y="2801424"/>
              <a:ext cx="68700" cy="44227"/>
            </a:xfrm>
            <a:custGeom>
              <a:avLst/>
              <a:gdLst>
                <a:gd name="connsiteX0" fmla="*/ -28 w 68700"/>
                <a:gd name="connsiteY0" fmla="*/ 44221 h 44227"/>
                <a:gd name="connsiteX1" fmla="*/ 68673 w 68700"/>
                <a:gd name="connsiteY1" fmla="*/ -7 h 4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700" h="44227">
                  <a:moveTo>
                    <a:pt x="-28" y="44221"/>
                  </a:moveTo>
                  <a:cubicBezTo>
                    <a:pt x="25595" y="34214"/>
                    <a:pt x="48954" y="19177"/>
                    <a:pt x="68673" y="-7"/>
                  </a:cubicBezTo>
                </a:path>
              </a:pathLst>
            </a:custGeom>
            <a:noFill/>
            <a:ln w="367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5" name="Freeform: Shape 309">
              <a:extLst>
                <a:ext uri="{FF2B5EF4-FFF2-40B4-BE49-F238E27FC236}">
                  <a16:creationId xmlns:a16="http://schemas.microsoft.com/office/drawing/2014/main" id="{2AAEC8BA-5B2E-9638-F5E3-D6745FE92717}"/>
                </a:ext>
              </a:extLst>
            </p:cNvPr>
            <p:cNvSpPr/>
            <p:nvPr/>
          </p:nvSpPr>
          <p:spPr>
            <a:xfrm>
              <a:off x="1327871" y="2386558"/>
              <a:ext cx="143230" cy="313056"/>
            </a:xfrm>
            <a:custGeom>
              <a:avLst/>
              <a:gdLst>
                <a:gd name="connsiteX0" fmla="*/ 101629 w 143230"/>
                <a:gd name="connsiteY0" fmla="*/ 630 h 313056"/>
                <a:gd name="connsiteX1" fmla="*/ 117035 w 143230"/>
                <a:gd name="connsiteY1" fmla="*/ 32953 h 313056"/>
                <a:gd name="connsiteX2" fmla="*/ 122416 w 143230"/>
                <a:gd name="connsiteY2" fmla="*/ 64539 h 313056"/>
                <a:gd name="connsiteX3" fmla="*/ 143203 w 143230"/>
                <a:gd name="connsiteY3" fmla="*/ 88422 h 313056"/>
                <a:gd name="connsiteX4" fmla="*/ 136274 w 143230"/>
                <a:gd name="connsiteY4" fmla="*/ 106850 h 313056"/>
                <a:gd name="connsiteX5" fmla="*/ 126249 w 143230"/>
                <a:gd name="connsiteY5" fmla="*/ 159961 h 313056"/>
                <a:gd name="connsiteX6" fmla="*/ 94700 w 143230"/>
                <a:gd name="connsiteY6" fmla="*/ 166890 h 313056"/>
                <a:gd name="connsiteX7" fmla="*/ 81616 w 143230"/>
                <a:gd name="connsiteY7" fmla="*/ 216941 h 313056"/>
                <a:gd name="connsiteX8" fmla="*/ 94700 w 143230"/>
                <a:gd name="connsiteY8" fmla="*/ 224644 h 313056"/>
                <a:gd name="connsiteX9" fmla="*/ 94700 w 143230"/>
                <a:gd name="connsiteY9" fmla="*/ 286267 h 313056"/>
                <a:gd name="connsiteX10" fmla="*/ 70817 w 143230"/>
                <a:gd name="connsiteY10" fmla="*/ 311662 h 313056"/>
                <a:gd name="connsiteX11" fmla="*/ 9230 w 143230"/>
                <a:gd name="connsiteY11" fmla="*/ 236253 h 313056"/>
                <a:gd name="connsiteX12" fmla="*/ 3849 w 143230"/>
                <a:gd name="connsiteY12" fmla="*/ 146139 h 313056"/>
                <a:gd name="connsiteX13" fmla="*/ 44649 w 143230"/>
                <a:gd name="connsiteY13" fmla="*/ 31442 h 313056"/>
                <a:gd name="connsiteX14" fmla="*/ 101629 w 143230"/>
                <a:gd name="connsiteY14" fmla="*/ 630 h 31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3230" h="313056">
                  <a:moveTo>
                    <a:pt x="101629" y="630"/>
                  </a:moveTo>
                  <a:cubicBezTo>
                    <a:pt x="101629" y="630"/>
                    <a:pt x="113165" y="25287"/>
                    <a:pt x="117035" y="32953"/>
                  </a:cubicBezTo>
                  <a:cubicBezTo>
                    <a:pt x="120905" y="40619"/>
                    <a:pt x="119320" y="53777"/>
                    <a:pt x="122416" y="64539"/>
                  </a:cubicBezTo>
                  <a:cubicBezTo>
                    <a:pt x="125512" y="75301"/>
                    <a:pt x="143203" y="82230"/>
                    <a:pt x="143203" y="88422"/>
                  </a:cubicBezTo>
                  <a:cubicBezTo>
                    <a:pt x="143203" y="94614"/>
                    <a:pt x="136274" y="106850"/>
                    <a:pt x="136274" y="106850"/>
                  </a:cubicBezTo>
                  <a:cubicBezTo>
                    <a:pt x="136274" y="106850"/>
                    <a:pt x="132404" y="154764"/>
                    <a:pt x="126249" y="159961"/>
                  </a:cubicBezTo>
                  <a:cubicBezTo>
                    <a:pt x="120094" y="165157"/>
                    <a:pt x="94700" y="166890"/>
                    <a:pt x="94700" y="166890"/>
                  </a:cubicBezTo>
                  <a:lnTo>
                    <a:pt x="81616" y="216941"/>
                  </a:lnTo>
                  <a:lnTo>
                    <a:pt x="94700" y="224644"/>
                  </a:lnTo>
                  <a:cubicBezTo>
                    <a:pt x="94700" y="224644"/>
                    <a:pt x="96985" y="270087"/>
                    <a:pt x="94700" y="286267"/>
                  </a:cubicBezTo>
                  <a:cubicBezTo>
                    <a:pt x="92415" y="302447"/>
                    <a:pt x="93926" y="317816"/>
                    <a:pt x="70817" y="311662"/>
                  </a:cubicBezTo>
                  <a:cubicBezTo>
                    <a:pt x="47708" y="305506"/>
                    <a:pt x="12289" y="243956"/>
                    <a:pt x="9230" y="236253"/>
                  </a:cubicBezTo>
                  <a:cubicBezTo>
                    <a:pt x="6171" y="228550"/>
                    <a:pt x="19218" y="195416"/>
                    <a:pt x="3849" y="146139"/>
                  </a:cubicBezTo>
                  <a:cubicBezTo>
                    <a:pt x="-11520" y="96862"/>
                    <a:pt x="22277" y="52229"/>
                    <a:pt x="44649" y="31442"/>
                  </a:cubicBezTo>
                  <a:cubicBezTo>
                    <a:pt x="67020" y="10655"/>
                    <a:pt x="77746" y="-3203"/>
                    <a:pt x="101629" y="630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6" name="Freeform: Shape 310">
              <a:extLst>
                <a:ext uri="{FF2B5EF4-FFF2-40B4-BE49-F238E27FC236}">
                  <a16:creationId xmlns:a16="http://schemas.microsoft.com/office/drawing/2014/main" id="{846F0023-C5DD-D973-7350-1AB25AE274B9}"/>
                </a:ext>
              </a:extLst>
            </p:cNvPr>
            <p:cNvSpPr/>
            <p:nvPr/>
          </p:nvSpPr>
          <p:spPr>
            <a:xfrm>
              <a:off x="1206482" y="2363373"/>
              <a:ext cx="223176" cy="309938"/>
            </a:xfrm>
            <a:custGeom>
              <a:avLst/>
              <a:gdLst>
                <a:gd name="connsiteX0" fmla="*/ 223019 w 223176"/>
                <a:gd name="connsiteY0" fmla="*/ 23815 h 309938"/>
                <a:gd name="connsiteX1" fmla="*/ 192207 w 223176"/>
                <a:gd name="connsiteY1" fmla="*/ 1480 h 309938"/>
                <a:gd name="connsiteX2" fmla="*/ 79021 w 223176"/>
                <a:gd name="connsiteY2" fmla="*/ 38336 h 309938"/>
                <a:gd name="connsiteX3" fmla="*/ 55175 w 223176"/>
                <a:gd name="connsiteY3" fmla="*/ 173083 h 309938"/>
                <a:gd name="connsiteX4" fmla="*/ 480 w 223176"/>
                <a:gd name="connsiteY4" fmla="*/ 246317 h 309938"/>
                <a:gd name="connsiteX5" fmla="*/ 44376 w 223176"/>
                <a:gd name="connsiteY5" fmla="*/ 309489 h 309938"/>
                <a:gd name="connsiteX6" fmla="*/ 46108 w 223176"/>
                <a:gd name="connsiteY6" fmla="*/ 309931 h 309938"/>
                <a:gd name="connsiteX7" fmla="*/ 62067 w 223176"/>
                <a:gd name="connsiteY7" fmla="*/ 274439 h 309938"/>
                <a:gd name="connsiteX8" fmla="*/ 114255 w 223176"/>
                <a:gd name="connsiteY8" fmla="*/ 251108 h 309938"/>
                <a:gd name="connsiteX9" fmla="*/ 151886 w 223176"/>
                <a:gd name="connsiteY9" fmla="*/ 220075 h 309938"/>
                <a:gd name="connsiteX10" fmla="*/ 157562 w 223176"/>
                <a:gd name="connsiteY10" fmla="*/ 145478 h 309938"/>
                <a:gd name="connsiteX11" fmla="*/ 166813 w 223176"/>
                <a:gd name="connsiteY11" fmla="*/ 122369 h 309938"/>
                <a:gd name="connsiteX12" fmla="*/ 206065 w 223176"/>
                <a:gd name="connsiteY12" fmla="*/ 86950 h 309938"/>
                <a:gd name="connsiteX13" fmla="*/ 223019 w 223176"/>
                <a:gd name="connsiteY13" fmla="*/ 23815 h 30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176" h="309938">
                  <a:moveTo>
                    <a:pt x="223019" y="23815"/>
                  </a:moveTo>
                  <a:cubicBezTo>
                    <a:pt x="222245" y="9957"/>
                    <a:pt x="220697" y="4576"/>
                    <a:pt x="192207" y="1480"/>
                  </a:cubicBezTo>
                  <a:cubicBezTo>
                    <a:pt x="163717" y="-1616"/>
                    <a:pt x="102904" y="-3901"/>
                    <a:pt x="79021" y="38336"/>
                  </a:cubicBezTo>
                  <a:cubicBezTo>
                    <a:pt x="55138" y="80574"/>
                    <a:pt x="55175" y="173083"/>
                    <a:pt x="55175" y="173083"/>
                  </a:cubicBezTo>
                  <a:cubicBezTo>
                    <a:pt x="55175" y="173083"/>
                    <a:pt x="4350" y="218491"/>
                    <a:pt x="480" y="246317"/>
                  </a:cubicBezTo>
                  <a:cubicBezTo>
                    <a:pt x="-3390" y="274144"/>
                    <a:pt x="15222" y="300238"/>
                    <a:pt x="44376" y="309489"/>
                  </a:cubicBezTo>
                  <a:lnTo>
                    <a:pt x="46108" y="309931"/>
                  </a:lnTo>
                  <a:cubicBezTo>
                    <a:pt x="48695" y="297054"/>
                    <a:pt x="54150" y="284921"/>
                    <a:pt x="62067" y="274439"/>
                  </a:cubicBezTo>
                  <a:cubicBezTo>
                    <a:pt x="78726" y="254462"/>
                    <a:pt x="93174" y="256674"/>
                    <a:pt x="114255" y="251108"/>
                  </a:cubicBezTo>
                  <a:cubicBezTo>
                    <a:pt x="135337" y="245543"/>
                    <a:pt x="148753" y="244143"/>
                    <a:pt x="151886" y="220075"/>
                  </a:cubicBezTo>
                  <a:cubicBezTo>
                    <a:pt x="155019" y="196008"/>
                    <a:pt x="159589" y="169988"/>
                    <a:pt x="157562" y="145478"/>
                  </a:cubicBezTo>
                  <a:cubicBezTo>
                    <a:pt x="156788" y="136227"/>
                    <a:pt x="166813" y="122369"/>
                    <a:pt x="166813" y="122369"/>
                  </a:cubicBezTo>
                  <a:cubicBezTo>
                    <a:pt x="166813" y="122369"/>
                    <a:pt x="190659" y="128524"/>
                    <a:pt x="206065" y="86950"/>
                  </a:cubicBezTo>
                  <a:cubicBezTo>
                    <a:pt x="221471" y="45376"/>
                    <a:pt x="223793" y="37673"/>
                    <a:pt x="223019" y="23815"/>
                  </a:cubicBez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7" name="Freeform: Shape 311">
              <a:extLst>
                <a:ext uri="{FF2B5EF4-FFF2-40B4-BE49-F238E27FC236}">
                  <a16:creationId xmlns:a16="http://schemas.microsoft.com/office/drawing/2014/main" id="{4784F579-3326-F73A-508B-FB12A728BC58}"/>
                </a:ext>
              </a:extLst>
            </p:cNvPr>
            <p:cNvSpPr/>
            <p:nvPr/>
          </p:nvSpPr>
          <p:spPr>
            <a:xfrm>
              <a:off x="1348789" y="2472509"/>
              <a:ext cx="34521" cy="57223"/>
            </a:xfrm>
            <a:custGeom>
              <a:avLst/>
              <a:gdLst>
                <a:gd name="connsiteX0" fmla="*/ 34493 w 34521"/>
                <a:gd name="connsiteY0" fmla="*/ 24770 h 57223"/>
                <a:gd name="connsiteX1" fmla="*/ 6777 w 34521"/>
                <a:gd name="connsiteY1" fmla="*/ 3209 h 57223"/>
                <a:gd name="connsiteX2" fmla="*/ 21520 w 34521"/>
                <a:gd name="connsiteY2" fmla="*/ 57130 h 57223"/>
                <a:gd name="connsiteX3" fmla="*/ 33830 w 34521"/>
                <a:gd name="connsiteY3" fmla="*/ 53260 h 57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521" h="57223">
                  <a:moveTo>
                    <a:pt x="34493" y="24770"/>
                  </a:moveTo>
                  <a:cubicBezTo>
                    <a:pt x="34493" y="24770"/>
                    <a:pt x="26790" y="-10649"/>
                    <a:pt x="6777" y="3209"/>
                  </a:cubicBezTo>
                  <a:cubicBezTo>
                    <a:pt x="-13236" y="17067"/>
                    <a:pt x="16802" y="56356"/>
                    <a:pt x="21520" y="57130"/>
                  </a:cubicBezTo>
                  <a:cubicBezTo>
                    <a:pt x="26238" y="57904"/>
                    <a:pt x="33830" y="53260"/>
                    <a:pt x="33830" y="53260"/>
                  </a:cubicBezTo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8" name="Freeform: Shape 312">
              <a:extLst>
                <a:ext uri="{FF2B5EF4-FFF2-40B4-BE49-F238E27FC236}">
                  <a16:creationId xmlns:a16="http://schemas.microsoft.com/office/drawing/2014/main" id="{424315A5-3E3B-464B-22A8-3A70E837DF9E}"/>
                </a:ext>
              </a:extLst>
            </p:cNvPr>
            <p:cNvSpPr/>
            <p:nvPr/>
          </p:nvSpPr>
          <p:spPr>
            <a:xfrm>
              <a:off x="1398753" y="2550432"/>
              <a:ext cx="23846" cy="22334"/>
            </a:xfrm>
            <a:custGeom>
              <a:avLst/>
              <a:gdLst>
                <a:gd name="connsiteX0" fmla="*/ 23846 w 23846"/>
                <a:gd name="connsiteY0" fmla="*/ 3059 h 22334"/>
                <a:gd name="connsiteX1" fmla="*/ 0 w 23846"/>
                <a:gd name="connsiteY1" fmla="*/ 0 h 22334"/>
                <a:gd name="connsiteX2" fmla="*/ 16917 w 23846"/>
                <a:gd name="connsiteY2" fmla="*/ 22335 h 22334"/>
                <a:gd name="connsiteX3" fmla="*/ 23846 w 23846"/>
                <a:gd name="connsiteY3" fmla="*/ 3059 h 2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46" h="22334">
                  <a:moveTo>
                    <a:pt x="23846" y="3059"/>
                  </a:moveTo>
                  <a:lnTo>
                    <a:pt x="0" y="0"/>
                  </a:lnTo>
                  <a:lnTo>
                    <a:pt x="16917" y="22335"/>
                  </a:lnTo>
                  <a:lnTo>
                    <a:pt x="23846" y="3059"/>
                  </a:lnTo>
                  <a:close/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9" name="Freeform: Shape 313">
              <a:extLst>
                <a:ext uri="{FF2B5EF4-FFF2-40B4-BE49-F238E27FC236}">
                  <a16:creationId xmlns:a16="http://schemas.microsoft.com/office/drawing/2014/main" id="{48A7266B-3751-9027-EF93-38937FC4EAC6}"/>
                </a:ext>
              </a:extLst>
            </p:cNvPr>
            <p:cNvSpPr/>
            <p:nvPr/>
          </p:nvSpPr>
          <p:spPr>
            <a:xfrm>
              <a:off x="1439190" y="2451254"/>
              <a:ext cx="9113" cy="18975"/>
            </a:xfrm>
            <a:custGeom>
              <a:avLst/>
              <a:gdLst>
                <a:gd name="connsiteX0" fmla="*/ 8701 w 9113"/>
                <a:gd name="connsiteY0" fmla="*/ 8652 h 18975"/>
                <a:gd name="connsiteX1" fmla="*/ 6379 w 9113"/>
                <a:gd name="connsiteY1" fmla="*/ 18935 h 18975"/>
                <a:gd name="connsiteX2" fmla="*/ 372 w 9113"/>
                <a:gd name="connsiteY2" fmla="*/ 10274 h 18975"/>
                <a:gd name="connsiteX3" fmla="*/ 2730 w 9113"/>
                <a:gd name="connsiteY3" fmla="*/ 27 h 18975"/>
                <a:gd name="connsiteX4" fmla="*/ 8701 w 9113"/>
                <a:gd name="connsiteY4" fmla="*/ 8652 h 1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13" h="18975">
                  <a:moveTo>
                    <a:pt x="8701" y="8652"/>
                  </a:moveTo>
                  <a:cubicBezTo>
                    <a:pt x="9696" y="13885"/>
                    <a:pt x="8701" y="18492"/>
                    <a:pt x="6379" y="18935"/>
                  </a:cubicBezTo>
                  <a:cubicBezTo>
                    <a:pt x="4057" y="19377"/>
                    <a:pt x="1404" y="15470"/>
                    <a:pt x="372" y="10274"/>
                  </a:cubicBezTo>
                  <a:cubicBezTo>
                    <a:pt x="-660" y="5077"/>
                    <a:pt x="372" y="470"/>
                    <a:pt x="2730" y="27"/>
                  </a:cubicBezTo>
                  <a:cubicBezTo>
                    <a:pt x="5089" y="-415"/>
                    <a:pt x="7706" y="3455"/>
                    <a:pt x="8701" y="8652"/>
                  </a:cubicBezTo>
                  <a:close/>
                </a:path>
              </a:pathLst>
            </a:custGeom>
            <a:solidFill>
              <a:srgbClr val="263238"/>
            </a:solidFill>
            <a:ln w="36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0" name="Freeform: Shape 314">
              <a:extLst>
                <a:ext uri="{FF2B5EF4-FFF2-40B4-BE49-F238E27FC236}">
                  <a16:creationId xmlns:a16="http://schemas.microsoft.com/office/drawing/2014/main" id="{3B1D25E7-D26F-3E0F-ACAF-D595EFEB3EC7}"/>
                </a:ext>
              </a:extLst>
            </p:cNvPr>
            <p:cNvSpPr/>
            <p:nvPr/>
          </p:nvSpPr>
          <p:spPr>
            <a:xfrm>
              <a:off x="1472976" y="2814706"/>
              <a:ext cx="30706" cy="64891"/>
            </a:xfrm>
            <a:custGeom>
              <a:avLst/>
              <a:gdLst>
                <a:gd name="connsiteX0" fmla="*/ 23529 w 30706"/>
                <a:gd name="connsiteY0" fmla="*/ 64883 h 64891"/>
                <a:gd name="connsiteX1" fmla="*/ 29426 w 30706"/>
                <a:gd name="connsiteY1" fmla="*/ 64478 h 64891"/>
                <a:gd name="connsiteX2" fmla="*/ 27657 w 30706"/>
                <a:gd name="connsiteY2" fmla="*/ 53421 h 64891"/>
                <a:gd name="connsiteX3" fmla="*/ 12914 w 30706"/>
                <a:gd name="connsiteY3" fmla="*/ 50288 h 64891"/>
                <a:gd name="connsiteX4" fmla="*/ 15752 w 30706"/>
                <a:gd name="connsiteY4" fmla="*/ 12658 h 64891"/>
                <a:gd name="connsiteX5" fmla="*/ 28099 w 30706"/>
                <a:gd name="connsiteY5" fmla="*/ 12179 h 64891"/>
                <a:gd name="connsiteX6" fmla="*/ 30679 w 30706"/>
                <a:gd name="connsiteY6" fmla="*/ 1122 h 64891"/>
                <a:gd name="connsiteX7" fmla="*/ 7165 w 30706"/>
                <a:gd name="connsiteY7" fmla="*/ 5250 h 64891"/>
                <a:gd name="connsiteX8" fmla="*/ 3737 w 30706"/>
                <a:gd name="connsiteY8" fmla="*/ 56628 h 64891"/>
                <a:gd name="connsiteX9" fmla="*/ 23529 w 30706"/>
                <a:gd name="connsiteY9" fmla="*/ 64883 h 6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706" h="64891">
                  <a:moveTo>
                    <a:pt x="23529" y="64883"/>
                  </a:moveTo>
                  <a:cubicBezTo>
                    <a:pt x="25501" y="64898"/>
                    <a:pt x="27473" y="64762"/>
                    <a:pt x="29426" y="64478"/>
                  </a:cubicBezTo>
                  <a:lnTo>
                    <a:pt x="27657" y="53421"/>
                  </a:lnTo>
                  <a:cubicBezTo>
                    <a:pt x="23971" y="53974"/>
                    <a:pt x="15421" y="53937"/>
                    <a:pt x="12914" y="50288"/>
                  </a:cubicBezTo>
                  <a:cubicBezTo>
                    <a:pt x="9413" y="45239"/>
                    <a:pt x="12177" y="17376"/>
                    <a:pt x="15752" y="12658"/>
                  </a:cubicBezTo>
                  <a:cubicBezTo>
                    <a:pt x="17079" y="11110"/>
                    <a:pt x="23492" y="11110"/>
                    <a:pt x="28099" y="12179"/>
                  </a:cubicBezTo>
                  <a:lnTo>
                    <a:pt x="30679" y="1122"/>
                  </a:lnTo>
                  <a:cubicBezTo>
                    <a:pt x="27915" y="458"/>
                    <a:pt x="13762" y="-2564"/>
                    <a:pt x="7165" y="5250"/>
                  </a:cubicBezTo>
                  <a:cubicBezTo>
                    <a:pt x="567" y="13063"/>
                    <a:pt x="-3339" y="46529"/>
                    <a:pt x="3737" y="56628"/>
                  </a:cubicBezTo>
                  <a:cubicBezTo>
                    <a:pt x="8491" y="63593"/>
                    <a:pt x="17521" y="64883"/>
                    <a:pt x="23529" y="64883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1" name="Freeform: Shape 315">
              <a:extLst>
                <a:ext uri="{FF2B5EF4-FFF2-40B4-BE49-F238E27FC236}">
                  <a16:creationId xmlns:a16="http://schemas.microsoft.com/office/drawing/2014/main" id="{ABD43000-5A9C-2B8A-DF8E-646D1F30E93C}"/>
                </a:ext>
              </a:extLst>
            </p:cNvPr>
            <p:cNvSpPr/>
            <p:nvPr/>
          </p:nvSpPr>
          <p:spPr>
            <a:xfrm rot="10800000">
              <a:off x="1496090" y="2805737"/>
              <a:ext cx="67078" cy="87386"/>
            </a:xfrm>
            <a:custGeom>
              <a:avLst/>
              <a:gdLst>
                <a:gd name="connsiteX0" fmla="*/ -28 w 67078"/>
                <a:gd name="connsiteY0" fmla="*/ -7 h 87386"/>
                <a:gd name="connsiteX1" fmla="*/ 67051 w 67078"/>
                <a:gd name="connsiteY1" fmla="*/ -7 h 87386"/>
                <a:gd name="connsiteX2" fmla="*/ 67051 w 67078"/>
                <a:gd name="connsiteY2" fmla="*/ 87379 h 87386"/>
                <a:gd name="connsiteX3" fmla="*/ -28 w 67078"/>
                <a:gd name="connsiteY3" fmla="*/ 87379 h 8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78" h="87386">
                  <a:moveTo>
                    <a:pt x="-28" y="-7"/>
                  </a:moveTo>
                  <a:lnTo>
                    <a:pt x="67051" y="-7"/>
                  </a:lnTo>
                  <a:lnTo>
                    <a:pt x="67051" y="87379"/>
                  </a:lnTo>
                  <a:lnTo>
                    <a:pt x="-28" y="87379"/>
                  </a:ln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2" name="Freeform: Shape 316">
              <a:extLst>
                <a:ext uri="{FF2B5EF4-FFF2-40B4-BE49-F238E27FC236}">
                  <a16:creationId xmlns:a16="http://schemas.microsoft.com/office/drawing/2014/main" id="{E77B1EA4-527B-0419-93F0-AA6B16A8A5AE}"/>
                </a:ext>
              </a:extLst>
            </p:cNvPr>
            <p:cNvSpPr/>
            <p:nvPr/>
          </p:nvSpPr>
          <p:spPr>
            <a:xfrm>
              <a:off x="1226748" y="2620504"/>
              <a:ext cx="268652" cy="314561"/>
            </a:xfrm>
            <a:custGeom>
              <a:avLst/>
              <a:gdLst>
                <a:gd name="connsiteX0" fmla="*/ 75118 w 268652"/>
                <a:gd name="connsiteY0" fmla="*/ 649 h 314561"/>
                <a:gd name="connsiteX1" fmla="*/ 23335 w 268652"/>
                <a:gd name="connsiteY1" fmla="*/ 58256 h 314561"/>
                <a:gd name="connsiteX2" fmla="*/ 594 w 268652"/>
                <a:gd name="connsiteY2" fmla="*/ 314113 h 314561"/>
                <a:gd name="connsiteX3" fmla="*/ 191916 w 268652"/>
                <a:gd name="connsiteY3" fmla="*/ 265610 h 314561"/>
                <a:gd name="connsiteX4" fmla="*/ 250886 w 268652"/>
                <a:gd name="connsiteY4" fmla="*/ 260782 h 314561"/>
                <a:gd name="connsiteX5" fmla="*/ 262717 w 268652"/>
                <a:gd name="connsiteY5" fmla="*/ 246408 h 314561"/>
                <a:gd name="connsiteX6" fmla="*/ 262717 w 268652"/>
                <a:gd name="connsiteY6" fmla="*/ 232034 h 314561"/>
                <a:gd name="connsiteX7" fmla="*/ 268024 w 268652"/>
                <a:gd name="connsiteY7" fmla="*/ 216480 h 314561"/>
                <a:gd name="connsiteX8" fmla="*/ 259474 w 268652"/>
                <a:gd name="connsiteY8" fmla="*/ 208261 h 314561"/>
                <a:gd name="connsiteX9" fmla="*/ 248417 w 268652"/>
                <a:gd name="connsiteY9" fmla="*/ 208261 h 314561"/>
                <a:gd name="connsiteX10" fmla="*/ 241819 w 268652"/>
                <a:gd name="connsiteY10" fmla="*/ 205534 h 314561"/>
                <a:gd name="connsiteX11" fmla="*/ 248675 w 268652"/>
                <a:gd name="connsiteY11" fmla="*/ 189096 h 314561"/>
                <a:gd name="connsiteX12" fmla="*/ 237876 w 268652"/>
                <a:gd name="connsiteY12" fmla="*/ 182609 h 314561"/>
                <a:gd name="connsiteX13" fmla="*/ 229288 w 268652"/>
                <a:gd name="connsiteY13" fmla="*/ 197610 h 314561"/>
                <a:gd name="connsiteX14" fmla="*/ 212924 w 268652"/>
                <a:gd name="connsiteY14" fmla="*/ 215485 h 314561"/>
                <a:gd name="connsiteX15" fmla="*/ 199177 w 268652"/>
                <a:gd name="connsiteY15" fmla="*/ 236420 h 314561"/>
                <a:gd name="connsiteX16" fmla="*/ 73275 w 268652"/>
                <a:gd name="connsiteY16" fmla="*/ 243275 h 314561"/>
                <a:gd name="connsiteX17" fmla="*/ 91925 w 268652"/>
                <a:gd name="connsiteY17" fmla="*/ 98134 h 31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8652" h="314561">
                  <a:moveTo>
                    <a:pt x="75118" y="649"/>
                  </a:moveTo>
                  <a:cubicBezTo>
                    <a:pt x="75118" y="649"/>
                    <a:pt x="39588" y="-10408"/>
                    <a:pt x="23335" y="58256"/>
                  </a:cubicBezTo>
                  <a:cubicBezTo>
                    <a:pt x="17954" y="81107"/>
                    <a:pt x="-3976" y="312565"/>
                    <a:pt x="594" y="314113"/>
                  </a:cubicBezTo>
                  <a:cubicBezTo>
                    <a:pt x="17180" y="319973"/>
                    <a:pt x="191916" y="265610"/>
                    <a:pt x="191916" y="265610"/>
                  </a:cubicBezTo>
                  <a:cubicBezTo>
                    <a:pt x="191916" y="265610"/>
                    <a:pt x="245984" y="261924"/>
                    <a:pt x="250886" y="260782"/>
                  </a:cubicBezTo>
                  <a:cubicBezTo>
                    <a:pt x="255788" y="259639"/>
                    <a:pt x="263049" y="251162"/>
                    <a:pt x="262717" y="246408"/>
                  </a:cubicBezTo>
                  <a:cubicBezTo>
                    <a:pt x="262385" y="241653"/>
                    <a:pt x="262717" y="232034"/>
                    <a:pt x="262717" y="232034"/>
                  </a:cubicBezTo>
                  <a:cubicBezTo>
                    <a:pt x="262717" y="232034"/>
                    <a:pt x="270862" y="222672"/>
                    <a:pt x="268024" y="216480"/>
                  </a:cubicBezTo>
                  <a:cubicBezTo>
                    <a:pt x="266310" y="212761"/>
                    <a:pt x="263259" y="209828"/>
                    <a:pt x="259474" y="208261"/>
                  </a:cubicBezTo>
                  <a:lnTo>
                    <a:pt x="248417" y="208261"/>
                  </a:lnTo>
                  <a:lnTo>
                    <a:pt x="241819" y="205534"/>
                  </a:lnTo>
                  <a:cubicBezTo>
                    <a:pt x="241819" y="205534"/>
                    <a:pt x="250038" y="196983"/>
                    <a:pt x="248675" y="189096"/>
                  </a:cubicBezTo>
                  <a:cubicBezTo>
                    <a:pt x="247311" y="181209"/>
                    <a:pt x="240677" y="176860"/>
                    <a:pt x="237876" y="182609"/>
                  </a:cubicBezTo>
                  <a:cubicBezTo>
                    <a:pt x="235075" y="188359"/>
                    <a:pt x="234522" y="192450"/>
                    <a:pt x="229288" y="197610"/>
                  </a:cubicBezTo>
                  <a:cubicBezTo>
                    <a:pt x="223240" y="202998"/>
                    <a:pt x="217760" y="208987"/>
                    <a:pt x="212924" y="215485"/>
                  </a:cubicBezTo>
                  <a:cubicBezTo>
                    <a:pt x="209238" y="221345"/>
                    <a:pt x="199177" y="236420"/>
                    <a:pt x="199177" y="236420"/>
                  </a:cubicBezTo>
                  <a:lnTo>
                    <a:pt x="73275" y="243275"/>
                  </a:lnTo>
                  <a:lnTo>
                    <a:pt x="91925" y="98134"/>
                  </a:lnTo>
                </a:path>
              </a:pathLst>
            </a:custGeom>
            <a:solidFill>
              <a:srgbClr val="263238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3" name="Freeform: Shape 318">
              <a:extLst>
                <a:ext uri="{FF2B5EF4-FFF2-40B4-BE49-F238E27FC236}">
                  <a16:creationId xmlns:a16="http://schemas.microsoft.com/office/drawing/2014/main" id="{9907F54F-E786-D964-3955-59C6D7CFA872}"/>
                </a:ext>
              </a:extLst>
            </p:cNvPr>
            <p:cNvSpPr/>
            <p:nvPr/>
          </p:nvSpPr>
          <p:spPr>
            <a:xfrm>
              <a:off x="1226904" y="2798955"/>
              <a:ext cx="268158" cy="136147"/>
            </a:xfrm>
            <a:custGeom>
              <a:avLst/>
              <a:gdLst>
                <a:gd name="connsiteX0" fmla="*/ 267500 w 268158"/>
                <a:gd name="connsiteY0" fmla="*/ 38029 h 136147"/>
                <a:gd name="connsiteX1" fmla="*/ 258950 w 268158"/>
                <a:gd name="connsiteY1" fmla="*/ 29810 h 136147"/>
                <a:gd name="connsiteX2" fmla="*/ 247893 w 268158"/>
                <a:gd name="connsiteY2" fmla="*/ 29810 h 136147"/>
                <a:gd name="connsiteX3" fmla="*/ 241295 w 268158"/>
                <a:gd name="connsiteY3" fmla="*/ 27082 h 136147"/>
                <a:gd name="connsiteX4" fmla="*/ 248151 w 268158"/>
                <a:gd name="connsiteY4" fmla="*/ 10645 h 136147"/>
                <a:gd name="connsiteX5" fmla="*/ 237352 w 268158"/>
                <a:gd name="connsiteY5" fmla="*/ 4158 h 136147"/>
                <a:gd name="connsiteX6" fmla="*/ 228764 w 268158"/>
                <a:gd name="connsiteY6" fmla="*/ 19158 h 136147"/>
                <a:gd name="connsiteX7" fmla="*/ 212400 w 268158"/>
                <a:gd name="connsiteY7" fmla="*/ 37034 h 136147"/>
                <a:gd name="connsiteX8" fmla="*/ 198653 w 268158"/>
                <a:gd name="connsiteY8" fmla="*/ 57968 h 136147"/>
                <a:gd name="connsiteX9" fmla="*/ 72751 w 268158"/>
                <a:gd name="connsiteY9" fmla="*/ 64823 h 136147"/>
                <a:gd name="connsiteX10" fmla="*/ 81081 w 268158"/>
                <a:gd name="connsiteY10" fmla="*/ 1615 h 136147"/>
                <a:gd name="connsiteX11" fmla="*/ 10390 w 268158"/>
                <a:gd name="connsiteY11" fmla="*/ -7 h 136147"/>
                <a:gd name="connsiteX12" fmla="*/ 550 w 268158"/>
                <a:gd name="connsiteY12" fmla="*/ 135698 h 136147"/>
                <a:gd name="connsiteX13" fmla="*/ 191871 w 268158"/>
                <a:gd name="connsiteY13" fmla="*/ 87195 h 136147"/>
                <a:gd name="connsiteX14" fmla="*/ 250841 w 268158"/>
                <a:gd name="connsiteY14" fmla="*/ 82367 h 136147"/>
                <a:gd name="connsiteX15" fmla="*/ 262672 w 268158"/>
                <a:gd name="connsiteY15" fmla="*/ 67993 h 136147"/>
                <a:gd name="connsiteX16" fmla="*/ 262672 w 268158"/>
                <a:gd name="connsiteY16" fmla="*/ 53619 h 136147"/>
                <a:gd name="connsiteX17" fmla="*/ 267500 w 268158"/>
                <a:gd name="connsiteY17" fmla="*/ 38029 h 136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8158" h="136147">
                  <a:moveTo>
                    <a:pt x="267500" y="38029"/>
                  </a:moveTo>
                  <a:cubicBezTo>
                    <a:pt x="265786" y="34310"/>
                    <a:pt x="262735" y="31376"/>
                    <a:pt x="258950" y="29810"/>
                  </a:cubicBezTo>
                  <a:lnTo>
                    <a:pt x="247893" y="29810"/>
                  </a:lnTo>
                  <a:lnTo>
                    <a:pt x="241295" y="27082"/>
                  </a:lnTo>
                  <a:cubicBezTo>
                    <a:pt x="241295" y="27082"/>
                    <a:pt x="249514" y="18532"/>
                    <a:pt x="248151" y="10645"/>
                  </a:cubicBezTo>
                  <a:cubicBezTo>
                    <a:pt x="246787" y="2757"/>
                    <a:pt x="240153" y="-1592"/>
                    <a:pt x="237352" y="4158"/>
                  </a:cubicBezTo>
                  <a:cubicBezTo>
                    <a:pt x="234551" y="9907"/>
                    <a:pt x="233998" y="13999"/>
                    <a:pt x="228764" y="19158"/>
                  </a:cubicBezTo>
                  <a:cubicBezTo>
                    <a:pt x="222716" y="24547"/>
                    <a:pt x="217236" y="30536"/>
                    <a:pt x="212400" y="37034"/>
                  </a:cubicBezTo>
                  <a:cubicBezTo>
                    <a:pt x="208714" y="42894"/>
                    <a:pt x="198653" y="57968"/>
                    <a:pt x="198653" y="57968"/>
                  </a:cubicBezTo>
                  <a:lnTo>
                    <a:pt x="72751" y="64823"/>
                  </a:lnTo>
                  <a:lnTo>
                    <a:pt x="81081" y="1615"/>
                  </a:lnTo>
                  <a:lnTo>
                    <a:pt x="10390" y="-7"/>
                  </a:lnTo>
                  <a:cubicBezTo>
                    <a:pt x="3940" y="66335"/>
                    <a:pt x="-1920" y="134814"/>
                    <a:pt x="550" y="135698"/>
                  </a:cubicBezTo>
                  <a:cubicBezTo>
                    <a:pt x="17135" y="141558"/>
                    <a:pt x="191871" y="87195"/>
                    <a:pt x="191871" y="87195"/>
                  </a:cubicBezTo>
                  <a:cubicBezTo>
                    <a:pt x="191871" y="87195"/>
                    <a:pt x="245939" y="83510"/>
                    <a:pt x="250841" y="82367"/>
                  </a:cubicBezTo>
                  <a:cubicBezTo>
                    <a:pt x="255743" y="81225"/>
                    <a:pt x="263004" y="72748"/>
                    <a:pt x="262672" y="67993"/>
                  </a:cubicBezTo>
                  <a:cubicBezTo>
                    <a:pt x="262340" y="63239"/>
                    <a:pt x="262672" y="53619"/>
                    <a:pt x="262672" y="53619"/>
                  </a:cubicBezTo>
                  <a:cubicBezTo>
                    <a:pt x="262672" y="53619"/>
                    <a:pt x="270338" y="44221"/>
                    <a:pt x="267500" y="38029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4" name="Freeform: Shape 5250">
              <a:extLst>
                <a:ext uri="{FF2B5EF4-FFF2-40B4-BE49-F238E27FC236}">
                  <a16:creationId xmlns:a16="http://schemas.microsoft.com/office/drawing/2014/main" id="{89E31600-8B51-B1C7-5B05-47F616D9EC8A}"/>
                </a:ext>
              </a:extLst>
            </p:cNvPr>
            <p:cNvSpPr/>
            <p:nvPr/>
          </p:nvSpPr>
          <p:spPr>
            <a:xfrm>
              <a:off x="1461181" y="2900236"/>
              <a:ext cx="31802" cy="38473"/>
            </a:xfrm>
            <a:custGeom>
              <a:avLst/>
              <a:gdLst>
                <a:gd name="connsiteX0" fmla="*/ 27584 w 31802"/>
                <a:gd name="connsiteY0" fmla="*/ -7 h 38473"/>
                <a:gd name="connsiteX1" fmla="*/ 9709 w 31802"/>
                <a:gd name="connsiteY1" fmla="*/ 7364 h 38473"/>
                <a:gd name="connsiteX2" fmla="*/ 1268 w 31802"/>
                <a:gd name="connsiteY2" fmla="*/ 38434 h 38473"/>
                <a:gd name="connsiteX3" fmla="*/ 15384 w 31802"/>
                <a:gd name="connsiteY3" fmla="*/ 18679 h 38473"/>
                <a:gd name="connsiteX4" fmla="*/ 27584 w 31802"/>
                <a:gd name="connsiteY4" fmla="*/ -7 h 38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802" h="38473">
                  <a:moveTo>
                    <a:pt x="27584" y="-7"/>
                  </a:moveTo>
                  <a:cubicBezTo>
                    <a:pt x="27584" y="-7"/>
                    <a:pt x="13468" y="2831"/>
                    <a:pt x="9709" y="7364"/>
                  </a:cubicBezTo>
                  <a:cubicBezTo>
                    <a:pt x="5949" y="11898"/>
                    <a:pt x="-3449" y="37476"/>
                    <a:pt x="1268" y="38434"/>
                  </a:cubicBezTo>
                  <a:cubicBezTo>
                    <a:pt x="5986" y="39393"/>
                    <a:pt x="15384" y="18679"/>
                    <a:pt x="15384" y="18679"/>
                  </a:cubicBezTo>
                  <a:cubicBezTo>
                    <a:pt x="15384" y="18679"/>
                    <a:pt x="41774" y="5632"/>
                    <a:pt x="27584" y="-7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5" name="Freeform: Shape 346">
              <a:extLst>
                <a:ext uri="{FF2B5EF4-FFF2-40B4-BE49-F238E27FC236}">
                  <a16:creationId xmlns:a16="http://schemas.microsoft.com/office/drawing/2014/main" id="{74DC591B-7786-D4AD-0E24-184F91A932B0}"/>
                </a:ext>
              </a:extLst>
            </p:cNvPr>
            <p:cNvSpPr/>
            <p:nvPr/>
          </p:nvSpPr>
          <p:spPr>
            <a:xfrm>
              <a:off x="1471226" y="2900269"/>
              <a:ext cx="27686" cy="38503"/>
            </a:xfrm>
            <a:custGeom>
              <a:avLst/>
              <a:gdLst>
                <a:gd name="connsiteX0" fmla="*/ 23841 w 27686"/>
                <a:gd name="connsiteY0" fmla="*/ 34 h 38503"/>
                <a:gd name="connsiteX1" fmla="*/ 14406 w 27686"/>
                <a:gd name="connsiteY1" fmla="*/ 1840 h 38503"/>
                <a:gd name="connsiteX2" fmla="*/ 475 w 27686"/>
                <a:gd name="connsiteY2" fmla="*/ 28856 h 38503"/>
                <a:gd name="connsiteX3" fmla="*/ 4160 w 27686"/>
                <a:gd name="connsiteY3" fmla="*/ 38291 h 38503"/>
                <a:gd name="connsiteX4" fmla="*/ 23952 w 27686"/>
                <a:gd name="connsiteY4" fmla="*/ 15329 h 38503"/>
                <a:gd name="connsiteX5" fmla="*/ 23841 w 27686"/>
                <a:gd name="connsiteY5" fmla="*/ 34 h 38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86" h="38503">
                  <a:moveTo>
                    <a:pt x="23841" y="34"/>
                  </a:moveTo>
                  <a:cubicBezTo>
                    <a:pt x="20594" y="-180"/>
                    <a:pt x="17347" y="443"/>
                    <a:pt x="14406" y="1840"/>
                  </a:cubicBezTo>
                  <a:cubicBezTo>
                    <a:pt x="10352" y="4088"/>
                    <a:pt x="1801" y="23438"/>
                    <a:pt x="475" y="28856"/>
                  </a:cubicBezTo>
                  <a:cubicBezTo>
                    <a:pt x="-852" y="34274"/>
                    <a:pt x="475" y="39618"/>
                    <a:pt x="4160" y="38291"/>
                  </a:cubicBezTo>
                  <a:cubicBezTo>
                    <a:pt x="7846" y="36964"/>
                    <a:pt x="20377" y="17578"/>
                    <a:pt x="23952" y="15329"/>
                  </a:cubicBezTo>
                  <a:cubicBezTo>
                    <a:pt x="27527" y="13081"/>
                    <a:pt x="30144" y="108"/>
                    <a:pt x="23841" y="34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6" name="Freeform: Shape 347">
              <a:extLst>
                <a:ext uri="{FF2B5EF4-FFF2-40B4-BE49-F238E27FC236}">
                  <a16:creationId xmlns:a16="http://schemas.microsoft.com/office/drawing/2014/main" id="{CC062AF2-C4B3-620A-94BA-6A4A97E0CB48}"/>
                </a:ext>
              </a:extLst>
            </p:cNvPr>
            <p:cNvSpPr/>
            <p:nvPr/>
          </p:nvSpPr>
          <p:spPr>
            <a:xfrm>
              <a:off x="1482616" y="2897077"/>
              <a:ext cx="22852" cy="36399"/>
            </a:xfrm>
            <a:custGeom>
              <a:avLst/>
              <a:gdLst>
                <a:gd name="connsiteX0" fmla="*/ 22366 w 22852"/>
                <a:gd name="connsiteY0" fmla="*/ 3226 h 36399"/>
                <a:gd name="connsiteX1" fmla="*/ 15223 w 22852"/>
                <a:gd name="connsiteY1" fmla="*/ 454 h 36399"/>
                <a:gd name="connsiteX2" fmla="*/ 12452 w 22852"/>
                <a:gd name="connsiteY2" fmla="*/ 3226 h 36399"/>
                <a:gd name="connsiteX3" fmla="*/ 326 w 22852"/>
                <a:gd name="connsiteY3" fmla="*/ 36065 h 36399"/>
                <a:gd name="connsiteX4" fmla="*/ 11567 w 22852"/>
                <a:gd name="connsiteY4" fmla="*/ 27993 h 36399"/>
                <a:gd name="connsiteX5" fmla="*/ 22366 w 22852"/>
                <a:gd name="connsiteY5" fmla="*/ 3226 h 36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52" h="36399">
                  <a:moveTo>
                    <a:pt x="22366" y="3226"/>
                  </a:moveTo>
                  <a:cubicBezTo>
                    <a:pt x="21157" y="487"/>
                    <a:pt x="17962" y="-751"/>
                    <a:pt x="15223" y="454"/>
                  </a:cubicBezTo>
                  <a:cubicBezTo>
                    <a:pt x="13985" y="999"/>
                    <a:pt x="12997" y="1987"/>
                    <a:pt x="12452" y="3226"/>
                  </a:cubicBezTo>
                  <a:cubicBezTo>
                    <a:pt x="7071" y="10892"/>
                    <a:pt x="-1922" y="34296"/>
                    <a:pt x="326" y="36065"/>
                  </a:cubicBezTo>
                  <a:cubicBezTo>
                    <a:pt x="2574" y="37834"/>
                    <a:pt x="7955" y="32047"/>
                    <a:pt x="11567" y="27993"/>
                  </a:cubicBezTo>
                  <a:cubicBezTo>
                    <a:pt x="15179" y="23939"/>
                    <a:pt x="25057" y="13582"/>
                    <a:pt x="22366" y="3226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7" name="Freeform: Shape 352">
              <a:extLst>
                <a:ext uri="{FF2B5EF4-FFF2-40B4-BE49-F238E27FC236}">
                  <a16:creationId xmlns:a16="http://schemas.microsoft.com/office/drawing/2014/main" id="{BF785519-FFA9-41A4-60F5-3BC40A0798CE}"/>
                </a:ext>
              </a:extLst>
            </p:cNvPr>
            <p:cNvSpPr/>
            <p:nvPr/>
          </p:nvSpPr>
          <p:spPr>
            <a:xfrm>
              <a:off x="1499422" y="2898720"/>
              <a:ext cx="17270" cy="29978"/>
            </a:xfrm>
            <a:custGeom>
              <a:avLst/>
              <a:gdLst>
                <a:gd name="connsiteX0" fmla="*/ 17243 w 17270"/>
                <a:gd name="connsiteY0" fmla="*/ 2505 h 29978"/>
                <a:gd name="connsiteX1" fmla="*/ 5560 w 17270"/>
                <a:gd name="connsiteY1" fmla="*/ 1584 h 29978"/>
                <a:gd name="connsiteX2" fmla="*/ 142 w 17270"/>
                <a:gd name="connsiteY2" fmla="*/ 29484 h 29978"/>
                <a:gd name="connsiteX3" fmla="*/ 9614 w 17270"/>
                <a:gd name="connsiteY3" fmla="*/ 24103 h 29978"/>
                <a:gd name="connsiteX4" fmla="*/ 17243 w 17270"/>
                <a:gd name="connsiteY4" fmla="*/ 2505 h 2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0" h="29978">
                  <a:moveTo>
                    <a:pt x="17243" y="2505"/>
                  </a:moveTo>
                  <a:cubicBezTo>
                    <a:pt x="17243" y="2505"/>
                    <a:pt x="9172" y="-2471"/>
                    <a:pt x="5560" y="1584"/>
                  </a:cubicBezTo>
                  <a:cubicBezTo>
                    <a:pt x="1948" y="5638"/>
                    <a:pt x="-743" y="27383"/>
                    <a:pt x="142" y="29484"/>
                  </a:cubicBezTo>
                  <a:cubicBezTo>
                    <a:pt x="1026" y="31585"/>
                    <a:pt x="8250" y="26351"/>
                    <a:pt x="9614" y="24103"/>
                  </a:cubicBezTo>
                  <a:cubicBezTo>
                    <a:pt x="10978" y="21855"/>
                    <a:pt x="17243" y="2505"/>
                    <a:pt x="17243" y="2505"/>
                  </a:cubicBezTo>
                  <a:close/>
                </a:path>
              </a:pathLst>
            </a:custGeom>
            <a:solidFill>
              <a:srgbClr val="FFFFFF"/>
            </a:solidFill>
            <a:ln w="367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55098786"/>
      </p:ext>
    </p:extLst>
  </p:cSld>
  <p:clrMapOvr>
    <a:masterClrMapping/>
  </p:clrMapOvr>
  <p:transition spd="slow">
    <p:wipe/>
    <p:sndAc>
      <p:stSnd>
        <p:snd r:embed="rId4" name="click.wav"/>
      </p:stSnd>
    </p:sndAc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7F9329-0AAE-C8C3-E88F-B207A9262AF9}"/>
              </a:ext>
            </a:extLst>
          </p:cNvPr>
          <p:cNvSpPr/>
          <p:nvPr/>
        </p:nvSpPr>
        <p:spPr>
          <a:xfrm>
            <a:off x="0" y="-54429"/>
            <a:ext cx="12192000" cy="344928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Rectangle: Top Corners Rounded 4">
            <a:extLst>
              <a:ext uri="{FF2B5EF4-FFF2-40B4-BE49-F238E27FC236}">
                <a16:creationId xmlns:a16="http://schemas.microsoft.com/office/drawing/2014/main" id="{55F7EDB6-E2C6-0706-5DC1-B67968C904BA}"/>
              </a:ext>
            </a:extLst>
          </p:cNvPr>
          <p:cNvSpPr/>
          <p:nvPr/>
        </p:nvSpPr>
        <p:spPr>
          <a:xfrm rot="5400000">
            <a:off x="4744391" y="-1260962"/>
            <a:ext cx="4633618" cy="10261602"/>
          </a:xfrm>
          <a:prstGeom prst="round2SameRect">
            <a:avLst>
              <a:gd name="adj1" fmla="val 0"/>
              <a:gd name="adj2" fmla="val 292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3" name="Rectangle: Rounded Corners 171">
            <a:extLst>
              <a:ext uri="{FF2B5EF4-FFF2-40B4-BE49-F238E27FC236}">
                <a16:creationId xmlns:a16="http://schemas.microsoft.com/office/drawing/2014/main" id="{FE1AE2A8-66AA-BC13-1BA0-570449B025C2}"/>
              </a:ext>
            </a:extLst>
          </p:cNvPr>
          <p:cNvSpPr/>
          <p:nvPr/>
        </p:nvSpPr>
        <p:spPr>
          <a:xfrm>
            <a:off x="3808570" y="4052633"/>
            <a:ext cx="3705984" cy="934668"/>
          </a:xfrm>
          <a:prstGeom prst="roundRect">
            <a:avLst>
              <a:gd name="adj" fmla="val 50000"/>
            </a:avLst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Graphic 8">
            <a:extLst>
              <a:ext uri="{FF2B5EF4-FFF2-40B4-BE49-F238E27FC236}">
                <a16:creationId xmlns:a16="http://schemas.microsoft.com/office/drawing/2014/main" id="{59FFCD79-CCBA-BE40-1EE9-C830A8A767AA}"/>
              </a:ext>
            </a:extLst>
          </p:cNvPr>
          <p:cNvSpPr/>
          <p:nvPr/>
        </p:nvSpPr>
        <p:spPr>
          <a:xfrm rot="5400000">
            <a:off x="11532390" y="6183792"/>
            <a:ext cx="647632" cy="630268"/>
          </a:xfrm>
          <a:prstGeom prst="roundRect">
            <a:avLst>
              <a:gd name="adj" fmla="val 50000"/>
            </a:avLst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sp>
        <p:nvSpPr>
          <p:cNvPr id="10" name="TextBox 83">
            <a:extLst>
              <a:ext uri="{FF2B5EF4-FFF2-40B4-BE49-F238E27FC236}">
                <a16:creationId xmlns:a16="http://schemas.microsoft.com/office/drawing/2014/main" id="{2AEEE993-04C5-9735-9F3F-28994EED9D55}"/>
              </a:ext>
            </a:extLst>
          </p:cNvPr>
          <p:cNvSpPr txBox="1"/>
          <p:nvPr/>
        </p:nvSpPr>
        <p:spPr>
          <a:xfrm>
            <a:off x="2464906" y="309607"/>
            <a:ext cx="6999365" cy="11079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defRPr/>
            </a:pPr>
            <a:r>
              <a:rPr lang="fr-FR" sz="3600" dirty="0">
                <a:solidFill>
                  <a:schemeClr val="bg1"/>
                </a:solidFill>
                <a:latin typeface="Arial Black"/>
              </a:rPr>
              <a:t>POINTS FORTS DE MON TABLEAU DE BORD</a:t>
            </a:r>
            <a:endParaRPr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grpSp>
        <p:nvGrpSpPr>
          <p:cNvPr id="19" name="Group 169">
            <a:extLst>
              <a:ext uri="{FF2B5EF4-FFF2-40B4-BE49-F238E27FC236}">
                <a16:creationId xmlns:a16="http://schemas.microsoft.com/office/drawing/2014/main" id="{EC354FC7-B41F-70D4-074E-A6B8AA8751EA}"/>
              </a:ext>
            </a:extLst>
          </p:cNvPr>
          <p:cNvGrpSpPr/>
          <p:nvPr/>
        </p:nvGrpSpPr>
        <p:grpSpPr>
          <a:xfrm>
            <a:off x="527957" y="1915104"/>
            <a:ext cx="2644945" cy="3909470"/>
            <a:chOff x="1567875" y="7481852"/>
            <a:chExt cx="2909440" cy="4300417"/>
          </a:xfrm>
        </p:grpSpPr>
        <p:sp>
          <p:nvSpPr>
            <p:cNvPr id="20" name="Rectangle 52">
              <a:extLst>
                <a:ext uri="{FF2B5EF4-FFF2-40B4-BE49-F238E27FC236}">
                  <a16:creationId xmlns:a16="http://schemas.microsoft.com/office/drawing/2014/main" id="{33CBF933-C6DC-3164-77EB-3A3285E3DD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875" y="7798672"/>
              <a:ext cx="2909440" cy="398359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21" name="Rectangle 53">
              <a:extLst>
                <a:ext uri="{FF2B5EF4-FFF2-40B4-BE49-F238E27FC236}">
                  <a16:creationId xmlns:a16="http://schemas.microsoft.com/office/drawing/2014/main" id="{FB20120A-9275-253C-B666-E5C67D9AA9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875" y="7798672"/>
              <a:ext cx="2909440" cy="3983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22" name="Freeform 54">
              <a:extLst>
                <a:ext uri="{FF2B5EF4-FFF2-40B4-BE49-F238E27FC236}">
                  <a16:creationId xmlns:a16="http://schemas.microsoft.com/office/drawing/2014/main" id="{EE61C5A1-1CEC-00F4-DDCB-A07C1900B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224" y="7957713"/>
              <a:ext cx="2550966" cy="3587257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" name="Freeform 55">
              <a:extLst>
                <a:ext uri="{FF2B5EF4-FFF2-40B4-BE49-F238E27FC236}">
                  <a16:creationId xmlns:a16="http://schemas.microsoft.com/office/drawing/2014/main" id="{BF2CCABB-0381-7465-2951-0C0E59D42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224" y="7957713"/>
              <a:ext cx="2550966" cy="3587257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" name="Freeform 56">
              <a:extLst>
                <a:ext uri="{FF2B5EF4-FFF2-40B4-BE49-F238E27FC236}">
                  <a16:creationId xmlns:a16="http://schemas.microsoft.com/office/drawing/2014/main" id="{7271C87D-5F7E-653C-8EAE-51EDBA325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52" y="7909748"/>
              <a:ext cx="2529509" cy="3569586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" name="Freeform 57">
              <a:extLst>
                <a:ext uri="{FF2B5EF4-FFF2-40B4-BE49-F238E27FC236}">
                  <a16:creationId xmlns:a16="http://schemas.microsoft.com/office/drawing/2014/main" id="{9BE32645-22BB-552F-7D51-6418B6252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52" y="7909748"/>
              <a:ext cx="2529509" cy="3569586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" name="Freeform 58">
              <a:extLst>
                <a:ext uri="{FF2B5EF4-FFF2-40B4-BE49-F238E27FC236}">
                  <a16:creationId xmlns:a16="http://schemas.microsoft.com/office/drawing/2014/main" id="{9B92BE69-6813-5F34-6CBE-2DF6C611A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112" y="7918584"/>
              <a:ext cx="2550966" cy="3519097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27" name="Freeform 59">
              <a:extLst>
                <a:ext uri="{FF2B5EF4-FFF2-40B4-BE49-F238E27FC236}">
                  <a16:creationId xmlns:a16="http://schemas.microsoft.com/office/drawing/2014/main" id="{58940783-4414-CD23-1F83-39647633F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112" y="7918584"/>
              <a:ext cx="2550966" cy="3519097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" name="Freeform 60">
              <a:extLst>
                <a:ext uri="{FF2B5EF4-FFF2-40B4-BE49-F238E27FC236}">
                  <a16:creationId xmlns:a16="http://schemas.microsoft.com/office/drawing/2014/main" id="{65CC438A-7474-D839-DC97-B4E849E58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588" y="7916060"/>
              <a:ext cx="2556015" cy="3524146"/>
            </a:xfrm>
            <a:custGeom>
              <a:avLst/>
              <a:gdLst>
                <a:gd name="T0" fmla="*/ 769 w 853"/>
                <a:gd name="T1" fmla="*/ 1096 h 1176"/>
                <a:gd name="T2" fmla="*/ 774 w 853"/>
                <a:gd name="T3" fmla="*/ 1092 h 1176"/>
                <a:gd name="T4" fmla="*/ 790 w 853"/>
                <a:gd name="T5" fmla="*/ 1079 h 1176"/>
                <a:gd name="T6" fmla="*/ 851 w 853"/>
                <a:gd name="T7" fmla="*/ 1029 h 1176"/>
                <a:gd name="T8" fmla="*/ 851 w 853"/>
                <a:gd name="T9" fmla="*/ 1029 h 1176"/>
                <a:gd name="T10" fmla="*/ 851 w 853"/>
                <a:gd name="T11" fmla="*/ 1 h 1176"/>
                <a:gd name="T12" fmla="*/ 852 w 853"/>
                <a:gd name="T13" fmla="*/ 2 h 1176"/>
                <a:gd name="T14" fmla="*/ 8 w 853"/>
                <a:gd name="T15" fmla="*/ 3 h 1176"/>
                <a:gd name="T16" fmla="*/ 1 w 853"/>
                <a:gd name="T17" fmla="*/ 3 h 1176"/>
                <a:gd name="T18" fmla="*/ 2 w 853"/>
                <a:gd name="T19" fmla="*/ 1 h 1176"/>
                <a:gd name="T20" fmla="*/ 2 w 853"/>
                <a:gd name="T21" fmla="*/ 1175 h 1176"/>
                <a:gd name="T22" fmla="*/ 1 w 853"/>
                <a:gd name="T23" fmla="*/ 1174 h 1176"/>
                <a:gd name="T24" fmla="*/ 672 w 853"/>
                <a:gd name="T25" fmla="*/ 1175 h 1176"/>
                <a:gd name="T26" fmla="*/ 672 w 853"/>
                <a:gd name="T27" fmla="*/ 1175 h 1176"/>
                <a:gd name="T28" fmla="*/ 745 w 853"/>
                <a:gd name="T29" fmla="*/ 1116 h 1176"/>
                <a:gd name="T30" fmla="*/ 763 w 853"/>
                <a:gd name="T31" fmla="*/ 1101 h 1176"/>
                <a:gd name="T32" fmla="*/ 769 w 853"/>
                <a:gd name="T33" fmla="*/ 1096 h 1176"/>
                <a:gd name="T34" fmla="*/ 763 w 853"/>
                <a:gd name="T35" fmla="*/ 1101 h 1176"/>
                <a:gd name="T36" fmla="*/ 745 w 853"/>
                <a:gd name="T37" fmla="*/ 1116 h 1176"/>
                <a:gd name="T38" fmla="*/ 672 w 853"/>
                <a:gd name="T39" fmla="*/ 1175 h 1176"/>
                <a:gd name="T40" fmla="*/ 672 w 853"/>
                <a:gd name="T41" fmla="*/ 1175 h 1176"/>
                <a:gd name="T42" fmla="*/ 672 w 853"/>
                <a:gd name="T43" fmla="*/ 1175 h 1176"/>
                <a:gd name="T44" fmla="*/ 1 w 853"/>
                <a:gd name="T45" fmla="*/ 1176 h 1176"/>
                <a:gd name="T46" fmla="*/ 0 w 853"/>
                <a:gd name="T47" fmla="*/ 1176 h 1176"/>
                <a:gd name="T48" fmla="*/ 0 w 853"/>
                <a:gd name="T49" fmla="*/ 1175 h 1176"/>
                <a:gd name="T50" fmla="*/ 0 w 853"/>
                <a:gd name="T51" fmla="*/ 1 h 1176"/>
                <a:gd name="T52" fmla="*/ 0 w 853"/>
                <a:gd name="T53" fmla="*/ 0 h 1176"/>
                <a:gd name="T54" fmla="*/ 1 w 853"/>
                <a:gd name="T55" fmla="*/ 0 h 1176"/>
                <a:gd name="T56" fmla="*/ 8 w 853"/>
                <a:gd name="T57" fmla="*/ 0 h 1176"/>
                <a:gd name="T58" fmla="*/ 852 w 853"/>
                <a:gd name="T59" fmla="*/ 1 h 1176"/>
                <a:gd name="T60" fmla="*/ 853 w 853"/>
                <a:gd name="T61" fmla="*/ 1 h 1176"/>
                <a:gd name="T62" fmla="*/ 853 w 853"/>
                <a:gd name="T63" fmla="*/ 1 h 1176"/>
                <a:gd name="T64" fmla="*/ 852 w 853"/>
                <a:gd name="T65" fmla="*/ 1029 h 1176"/>
                <a:gd name="T66" fmla="*/ 852 w 853"/>
                <a:gd name="T67" fmla="*/ 1029 h 1176"/>
                <a:gd name="T68" fmla="*/ 852 w 853"/>
                <a:gd name="T69" fmla="*/ 1029 h 1176"/>
                <a:gd name="T70" fmla="*/ 790 w 853"/>
                <a:gd name="T71" fmla="*/ 1079 h 1176"/>
                <a:gd name="T72" fmla="*/ 774 w 853"/>
                <a:gd name="T73" fmla="*/ 1092 h 1176"/>
                <a:gd name="T74" fmla="*/ 769 w 853"/>
                <a:gd name="T75" fmla="*/ 109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3" h="1176">
                  <a:moveTo>
                    <a:pt x="769" y="1096"/>
                  </a:moveTo>
                  <a:cubicBezTo>
                    <a:pt x="769" y="1096"/>
                    <a:pt x="771" y="1094"/>
                    <a:pt x="774" y="1092"/>
                  </a:cubicBezTo>
                  <a:cubicBezTo>
                    <a:pt x="778" y="1089"/>
                    <a:pt x="783" y="1084"/>
                    <a:pt x="790" y="1079"/>
                  </a:cubicBezTo>
                  <a:cubicBezTo>
                    <a:pt x="804" y="1068"/>
                    <a:pt x="824" y="1051"/>
                    <a:pt x="851" y="1029"/>
                  </a:cubicBezTo>
                  <a:cubicBezTo>
                    <a:pt x="851" y="1029"/>
                    <a:pt x="851" y="1029"/>
                    <a:pt x="851" y="1029"/>
                  </a:cubicBezTo>
                  <a:cubicBezTo>
                    <a:pt x="851" y="860"/>
                    <a:pt x="851" y="485"/>
                    <a:pt x="851" y="1"/>
                  </a:cubicBezTo>
                  <a:cubicBezTo>
                    <a:pt x="852" y="2"/>
                    <a:pt x="852" y="2"/>
                    <a:pt x="852" y="2"/>
                  </a:cubicBezTo>
                  <a:cubicBezTo>
                    <a:pt x="598" y="2"/>
                    <a:pt x="311" y="2"/>
                    <a:pt x="8" y="3"/>
                  </a:cubicBezTo>
                  <a:cubicBezTo>
                    <a:pt x="6" y="3"/>
                    <a:pt x="3" y="3"/>
                    <a:pt x="1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443"/>
                    <a:pt x="2" y="850"/>
                    <a:pt x="2" y="1175"/>
                  </a:cubicBezTo>
                  <a:cubicBezTo>
                    <a:pt x="1" y="1174"/>
                    <a:pt x="1" y="1174"/>
                    <a:pt x="1" y="1174"/>
                  </a:cubicBezTo>
                  <a:cubicBezTo>
                    <a:pt x="307" y="1174"/>
                    <a:pt x="543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704" y="1148"/>
                    <a:pt x="728" y="1129"/>
                    <a:pt x="745" y="1116"/>
                  </a:cubicBezTo>
                  <a:cubicBezTo>
                    <a:pt x="753" y="1109"/>
                    <a:pt x="759" y="1104"/>
                    <a:pt x="763" y="1101"/>
                  </a:cubicBezTo>
                  <a:cubicBezTo>
                    <a:pt x="767" y="1097"/>
                    <a:pt x="769" y="1096"/>
                    <a:pt x="769" y="1096"/>
                  </a:cubicBezTo>
                  <a:cubicBezTo>
                    <a:pt x="769" y="1096"/>
                    <a:pt x="767" y="1098"/>
                    <a:pt x="763" y="1101"/>
                  </a:cubicBezTo>
                  <a:cubicBezTo>
                    <a:pt x="759" y="1104"/>
                    <a:pt x="753" y="1109"/>
                    <a:pt x="745" y="1116"/>
                  </a:cubicBezTo>
                  <a:cubicBezTo>
                    <a:pt x="729" y="1129"/>
                    <a:pt x="705" y="1149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543" y="1175"/>
                    <a:pt x="307" y="1176"/>
                    <a:pt x="1" y="1176"/>
                  </a:cubicBezTo>
                  <a:cubicBezTo>
                    <a:pt x="0" y="1176"/>
                    <a:pt x="0" y="1176"/>
                    <a:pt x="0" y="1176"/>
                  </a:cubicBezTo>
                  <a:cubicBezTo>
                    <a:pt x="0" y="1175"/>
                    <a:pt x="0" y="1175"/>
                    <a:pt x="0" y="1175"/>
                  </a:cubicBezTo>
                  <a:cubicBezTo>
                    <a:pt x="0" y="850"/>
                    <a:pt x="0" y="44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311" y="0"/>
                    <a:pt x="598" y="0"/>
                    <a:pt x="852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2" y="485"/>
                    <a:pt x="852" y="860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25" y="1051"/>
                    <a:pt x="804" y="1068"/>
                    <a:pt x="790" y="1079"/>
                  </a:cubicBezTo>
                  <a:cubicBezTo>
                    <a:pt x="783" y="1085"/>
                    <a:pt x="778" y="1089"/>
                    <a:pt x="774" y="1092"/>
                  </a:cubicBezTo>
                  <a:cubicBezTo>
                    <a:pt x="771" y="1095"/>
                    <a:pt x="769" y="1096"/>
                    <a:pt x="769" y="109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" name="Freeform 61">
              <a:extLst>
                <a:ext uri="{FF2B5EF4-FFF2-40B4-BE49-F238E27FC236}">
                  <a16:creationId xmlns:a16="http://schemas.microsoft.com/office/drawing/2014/main" id="{63898C1F-65F8-3FE7-4C9A-553053E08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401" y="7673711"/>
              <a:ext cx="1046389" cy="359735"/>
            </a:xfrm>
            <a:custGeom>
              <a:avLst/>
              <a:gdLst>
                <a:gd name="T0" fmla="*/ 349 w 349"/>
                <a:gd name="T1" fmla="*/ 120 h 120"/>
                <a:gd name="T2" fmla="*/ 0 w 349"/>
                <a:gd name="T3" fmla="*/ 120 h 120"/>
                <a:gd name="T4" fmla="*/ 0 w 349"/>
                <a:gd name="T5" fmla="*/ 59 h 120"/>
                <a:gd name="T6" fmla="*/ 59 w 349"/>
                <a:gd name="T7" fmla="*/ 0 h 120"/>
                <a:gd name="T8" fmla="*/ 292 w 349"/>
                <a:gd name="T9" fmla="*/ 0 h 120"/>
                <a:gd name="T10" fmla="*/ 349 w 349"/>
                <a:gd name="T11" fmla="*/ 57 h 120"/>
                <a:gd name="T12" fmla="*/ 349 w 349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9" h="120">
                  <a:moveTo>
                    <a:pt x="349" y="12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27"/>
                    <a:pt x="27" y="0"/>
                    <a:pt x="5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323" y="0"/>
                    <a:pt x="349" y="26"/>
                    <a:pt x="349" y="57"/>
                  </a:cubicBezTo>
                  <a:cubicBezTo>
                    <a:pt x="349" y="120"/>
                    <a:pt x="349" y="120"/>
                    <a:pt x="349" y="12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" name="Freeform 62">
              <a:extLst>
                <a:ext uri="{FF2B5EF4-FFF2-40B4-BE49-F238E27FC236}">
                  <a16:creationId xmlns:a16="http://schemas.microsoft.com/office/drawing/2014/main" id="{F6C48897-B5C3-554C-B5BD-C1C89860D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767" y="7481852"/>
              <a:ext cx="599559" cy="191859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" name="Freeform 63">
              <a:extLst>
                <a:ext uri="{FF2B5EF4-FFF2-40B4-BE49-F238E27FC236}">
                  <a16:creationId xmlns:a16="http://schemas.microsoft.com/office/drawing/2014/main" id="{19DDECC8-10EA-CECD-919D-5F9F35F79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767" y="7481852"/>
              <a:ext cx="599559" cy="191859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" name="Freeform 64">
              <a:extLst>
                <a:ext uri="{FF2B5EF4-FFF2-40B4-BE49-F238E27FC236}">
                  <a16:creationId xmlns:a16="http://schemas.microsoft.com/office/drawing/2014/main" id="{E2DD183A-EAD9-A690-3BE1-65879200D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8479014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" name="Oval 65">
              <a:extLst>
                <a:ext uri="{FF2B5EF4-FFF2-40B4-BE49-F238E27FC236}">
                  <a16:creationId xmlns:a16="http://schemas.microsoft.com/office/drawing/2014/main" id="{1AA5C245-D991-7893-8277-8ED3819FC9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581255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4" name="Oval 66">
              <a:extLst>
                <a:ext uri="{FF2B5EF4-FFF2-40B4-BE49-F238E27FC236}">
                  <a16:creationId xmlns:a16="http://schemas.microsoft.com/office/drawing/2014/main" id="{3D03495B-06B7-FB24-37A5-286BC91C1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670873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5" name="Oval 67">
              <a:extLst>
                <a:ext uri="{FF2B5EF4-FFF2-40B4-BE49-F238E27FC236}">
                  <a16:creationId xmlns:a16="http://schemas.microsoft.com/office/drawing/2014/main" id="{9B700566-5B54-CD0E-B321-07C02DB40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761753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6" name="Oval 68">
              <a:extLst>
                <a:ext uri="{FF2B5EF4-FFF2-40B4-BE49-F238E27FC236}">
                  <a16:creationId xmlns:a16="http://schemas.microsoft.com/office/drawing/2014/main" id="{51DDE69C-AD12-AFE7-7BD2-3A21CA3F81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848847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7" name="Freeform 69">
              <a:extLst>
                <a:ext uri="{FF2B5EF4-FFF2-40B4-BE49-F238E27FC236}">
                  <a16:creationId xmlns:a16="http://schemas.microsoft.com/office/drawing/2014/main" id="{8F00EA48-B6FA-3C60-1A16-880DFAFD95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141685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8" name="Freeform 70">
              <a:extLst>
                <a:ext uri="{FF2B5EF4-FFF2-40B4-BE49-F238E27FC236}">
                  <a16:creationId xmlns:a16="http://schemas.microsoft.com/office/drawing/2014/main" id="{969CEDDF-2902-28DD-5325-77C7450A3F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141685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9" name="Freeform 71">
              <a:extLst>
                <a:ext uri="{FF2B5EF4-FFF2-40B4-BE49-F238E27FC236}">
                  <a16:creationId xmlns:a16="http://schemas.microsoft.com/office/drawing/2014/main" id="{789ED2B7-C86C-B78D-00AF-40CAACD61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9169454"/>
              <a:ext cx="422847" cy="331966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9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49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9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49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3" name="Oval 72">
              <a:extLst>
                <a:ext uri="{FF2B5EF4-FFF2-40B4-BE49-F238E27FC236}">
                  <a16:creationId xmlns:a16="http://schemas.microsoft.com/office/drawing/2014/main" id="{B4150FAC-CB2F-0A63-C943-11626FC0E9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243925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4" name="Oval 73">
              <a:extLst>
                <a:ext uri="{FF2B5EF4-FFF2-40B4-BE49-F238E27FC236}">
                  <a16:creationId xmlns:a16="http://schemas.microsoft.com/office/drawing/2014/main" id="{B1F5A4AE-6045-A740-CA04-A73676AE68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333544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5" name="Oval 74">
              <a:extLst>
                <a:ext uri="{FF2B5EF4-FFF2-40B4-BE49-F238E27FC236}">
                  <a16:creationId xmlns:a16="http://schemas.microsoft.com/office/drawing/2014/main" id="{5A24E832-DE15-FF25-8000-BBEE22DBA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423162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6" name="Oval 75">
              <a:extLst>
                <a:ext uri="{FF2B5EF4-FFF2-40B4-BE49-F238E27FC236}">
                  <a16:creationId xmlns:a16="http://schemas.microsoft.com/office/drawing/2014/main" id="{30081A0C-4B6F-93D4-FC31-2F70277087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51025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3" name="Freeform 76">
              <a:extLst>
                <a:ext uri="{FF2B5EF4-FFF2-40B4-BE49-F238E27FC236}">
                  <a16:creationId xmlns:a16="http://schemas.microsoft.com/office/drawing/2014/main" id="{6BBEA673-690E-7128-377F-9DEFC69F9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782897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4" name="Freeform 77">
              <a:extLst>
                <a:ext uri="{FF2B5EF4-FFF2-40B4-BE49-F238E27FC236}">
                  <a16:creationId xmlns:a16="http://schemas.microsoft.com/office/drawing/2014/main" id="{8D5259F5-D8BB-11CD-F4F3-EE67E21F8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9810666"/>
              <a:ext cx="422847" cy="331966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7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50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7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5" name="Oval 78">
              <a:extLst>
                <a:ext uri="{FF2B5EF4-FFF2-40B4-BE49-F238E27FC236}">
                  <a16:creationId xmlns:a16="http://schemas.microsoft.com/office/drawing/2014/main" id="{48F7BF25-7651-401B-5A06-DC24A4CA3E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88513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2" name="Oval 79">
              <a:extLst>
                <a:ext uri="{FF2B5EF4-FFF2-40B4-BE49-F238E27FC236}">
                  <a16:creationId xmlns:a16="http://schemas.microsoft.com/office/drawing/2014/main" id="{4D77C493-F5C5-A66B-CD2A-AD1E59475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97475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6" name="Oval 80">
              <a:extLst>
                <a:ext uri="{FF2B5EF4-FFF2-40B4-BE49-F238E27FC236}">
                  <a16:creationId xmlns:a16="http://schemas.microsoft.com/office/drawing/2014/main" id="{58AD2A24-117B-DD52-8AD1-974FF75BF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061850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8" name="Oval 81">
              <a:extLst>
                <a:ext uri="{FF2B5EF4-FFF2-40B4-BE49-F238E27FC236}">
                  <a16:creationId xmlns:a16="http://schemas.microsoft.com/office/drawing/2014/main" id="{39F3D4B3-3E6D-ABBA-07A3-72654BF40D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15146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1" name="Freeform 82">
              <a:extLst>
                <a:ext uri="{FF2B5EF4-FFF2-40B4-BE49-F238E27FC236}">
                  <a16:creationId xmlns:a16="http://schemas.microsoft.com/office/drawing/2014/main" id="{23B452D7-3265-6951-81E2-521DE240B5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10403914"/>
              <a:ext cx="429158" cy="427896"/>
            </a:xfrm>
            <a:custGeom>
              <a:avLst/>
              <a:gdLst>
                <a:gd name="T0" fmla="*/ 340 w 340"/>
                <a:gd name="T1" fmla="*/ 339 h 339"/>
                <a:gd name="T2" fmla="*/ 0 w 340"/>
                <a:gd name="T3" fmla="*/ 339 h 339"/>
                <a:gd name="T4" fmla="*/ 0 w 340"/>
                <a:gd name="T5" fmla="*/ 0 h 339"/>
                <a:gd name="T6" fmla="*/ 340 w 340"/>
                <a:gd name="T7" fmla="*/ 0 h 339"/>
                <a:gd name="T8" fmla="*/ 340 w 340"/>
                <a:gd name="T9" fmla="*/ 339 h 339"/>
                <a:gd name="T10" fmla="*/ 10 w 340"/>
                <a:gd name="T11" fmla="*/ 330 h 339"/>
                <a:gd name="T12" fmla="*/ 330 w 340"/>
                <a:gd name="T13" fmla="*/ 330 h 339"/>
                <a:gd name="T14" fmla="*/ 330 w 340"/>
                <a:gd name="T15" fmla="*/ 9 h 339"/>
                <a:gd name="T16" fmla="*/ 10 w 340"/>
                <a:gd name="T17" fmla="*/ 9 h 339"/>
                <a:gd name="T18" fmla="*/ 10 w 340"/>
                <a:gd name="T19" fmla="*/ 33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39">
                  <a:moveTo>
                    <a:pt x="340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39"/>
                  </a:lnTo>
                  <a:close/>
                  <a:moveTo>
                    <a:pt x="10" y="330"/>
                  </a:moveTo>
                  <a:lnTo>
                    <a:pt x="330" y="330"/>
                  </a:lnTo>
                  <a:lnTo>
                    <a:pt x="330" y="9"/>
                  </a:lnTo>
                  <a:lnTo>
                    <a:pt x="10" y="9"/>
                  </a:lnTo>
                  <a:lnTo>
                    <a:pt x="10" y="33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2" name="Freeform 83">
              <a:extLst>
                <a:ext uri="{FF2B5EF4-FFF2-40B4-BE49-F238E27FC236}">
                  <a16:creationId xmlns:a16="http://schemas.microsoft.com/office/drawing/2014/main" id="{522452FC-2FF8-28CC-99CB-007551108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10430421"/>
              <a:ext cx="422847" cy="329442"/>
            </a:xfrm>
            <a:custGeom>
              <a:avLst/>
              <a:gdLst>
                <a:gd name="T0" fmla="*/ 0 w 335"/>
                <a:gd name="T1" fmla="*/ 155 h 261"/>
                <a:gd name="T2" fmla="*/ 45 w 335"/>
                <a:gd name="T3" fmla="*/ 107 h 261"/>
                <a:gd name="T4" fmla="*/ 121 w 335"/>
                <a:gd name="T5" fmla="*/ 166 h 261"/>
                <a:gd name="T6" fmla="*/ 294 w 335"/>
                <a:gd name="T7" fmla="*/ 0 h 261"/>
                <a:gd name="T8" fmla="*/ 335 w 335"/>
                <a:gd name="T9" fmla="*/ 48 h 261"/>
                <a:gd name="T10" fmla="*/ 119 w 335"/>
                <a:gd name="T11" fmla="*/ 261 h 261"/>
                <a:gd name="T12" fmla="*/ 0 w 335"/>
                <a:gd name="T13" fmla="*/ 15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1">
                  <a:moveTo>
                    <a:pt x="0" y="155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4" y="0"/>
                  </a:lnTo>
                  <a:lnTo>
                    <a:pt x="335" y="48"/>
                  </a:lnTo>
                  <a:lnTo>
                    <a:pt x="119" y="261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3" name="Oval 84">
              <a:extLst>
                <a:ext uri="{FF2B5EF4-FFF2-40B4-BE49-F238E27FC236}">
                  <a16:creationId xmlns:a16="http://schemas.microsoft.com/office/drawing/2014/main" id="{D891F6BD-E32A-C719-E29B-E4E7BB89F6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50236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4" name="Oval 85">
              <a:extLst>
                <a:ext uri="{FF2B5EF4-FFF2-40B4-BE49-F238E27FC236}">
                  <a16:creationId xmlns:a16="http://schemas.microsoft.com/office/drawing/2014/main" id="{2F8B2034-AF16-2A59-6014-E78CF1CDDC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591987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5" name="Oval 86">
              <a:extLst>
                <a:ext uri="{FF2B5EF4-FFF2-40B4-BE49-F238E27FC236}">
                  <a16:creationId xmlns:a16="http://schemas.microsoft.com/office/drawing/2014/main" id="{6B1A75E7-72AA-7C12-1334-6222DDBB71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682867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6" name="Oval 87">
              <a:extLst>
                <a:ext uri="{FF2B5EF4-FFF2-40B4-BE49-F238E27FC236}">
                  <a16:creationId xmlns:a16="http://schemas.microsoft.com/office/drawing/2014/main" id="{00DAE0D4-AE07-CA40-9035-E2D8053394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77248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7" name="Freeform 88">
              <a:extLst>
                <a:ext uri="{FF2B5EF4-FFF2-40B4-BE49-F238E27FC236}">
                  <a16:creationId xmlns:a16="http://schemas.microsoft.com/office/drawing/2014/main" id="{D81B2221-F320-7632-AA31-47DE1C214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7150" y="10855793"/>
              <a:ext cx="282739" cy="579363"/>
            </a:xfrm>
            <a:custGeom>
              <a:avLst/>
              <a:gdLst>
                <a:gd name="T0" fmla="*/ 224 w 224"/>
                <a:gd name="T1" fmla="*/ 0 h 459"/>
                <a:gd name="T2" fmla="*/ 0 w 224"/>
                <a:gd name="T3" fmla="*/ 459 h 459"/>
                <a:gd name="T4" fmla="*/ 159 w 224"/>
                <a:gd name="T5" fmla="*/ 459 h 459"/>
                <a:gd name="T6" fmla="*/ 224 w 224"/>
                <a:gd name="T7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459">
                  <a:moveTo>
                    <a:pt x="224" y="0"/>
                  </a:moveTo>
                  <a:lnTo>
                    <a:pt x="0" y="459"/>
                  </a:lnTo>
                  <a:lnTo>
                    <a:pt x="159" y="459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8" name="Freeform 89">
              <a:extLst>
                <a:ext uri="{FF2B5EF4-FFF2-40B4-BE49-F238E27FC236}">
                  <a16:creationId xmlns:a16="http://schemas.microsoft.com/office/drawing/2014/main" id="{7DD26104-B04D-ED79-12F6-A0370E7A2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844" y="10859579"/>
              <a:ext cx="540234" cy="578101"/>
            </a:xfrm>
            <a:custGeom>
              <a:avLst/>
              <a:gdLst>
                <a:gd name="T0" fmla="*/ 0 w 428"/>
                <a:gd name="T1" fmla="*/ 458 h 458"/>
                <a:gd name="T2" fmla="*/ 65 w 428"/>
                <a:gd name="T3" fmla="*/ 0 h 458"/>
                <a:gd name="T4" fmla="*/ 428 w 428"/>
                <a:gd name="T5" fmla="*/ 111 h 458"/>
                <a:gd name="T6" fmla="*/ 0 w 428"/>
                <a:gd name="T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458">
                  <a:moveTo>
                    <a:pt x="0" y="458"/>
                  </a:moveTo>
                  <a:lnTo>
                    <a:pt x="65" y="0"/>
                  </a:lnTo>
                  <a:lnTo>
                    <a:pt x="428" y="111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9" name="Freeform 90">
              <a:extLst>
                <a:ext uri="{FF2B5EF4-FFF2-40B4-BE49-F238E27FC236}">
                  <a16:creationId xmlns:a16="http://schemas.microsoft.com/office/drawing/2014/main" id="{96D032BE-6874-E0BA-BE65-12A4B9AD7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844" y="10853268"/>
              <a:ext cx="546546" cy="584412"/>
            </a:xfrm>
            <a:custGeom>
              <a:avLst/>
              <a:gdLst>
                <a:gd name="T0" fmla="*/ 0 w 182"/>
                <a:gd name="T1" fmla="*/ 195 h 195"/>
                <a:gd name="T2" fmla="*/ 51 w 182"/>
                <a:gd name="T3" fmla="*/ 153 h 195"/>
                <a:gd name="T4" fmla="*/ 179 w 182"/>
                <a:gd name="T5" fmla="*/ 48 h 195"/>
                <a:gd name="T6" fmla="*/ 179 w 182"/>
                <a:gd name="T7" fmla="*/ 50 h 195"/>
                <a:gd name="T8" fmla="*/ 120 w 182"/>
                <a:gd name="T9" fmla="*/ 32 h 195"/>
                <a:gd name="T10" fmla="*/ 26 w 182"/>
                <a:gd name="T11" fmla="*/ 3 h 195"/>
                <a:gd name="T12" fmla="*/ 28 w 182"/>
                <a:gd name="T13" fmla="*/ 2 h 195"/>
                <a:gd name="T14" fmla="*/ 8 w 182"/>
                <a:gd name="T15" fmla="*/ 140 h 195"/>
                <a:gd name="T16" fmla="*/ 0 w 182"/>
                <a:gd name="T17" fmla="*/ 195 h 195"/>
                <a:gd name="T18" fmla="*/ 0 w 182"/>
                <a:gd name="T19" fmla="*/ 194 h 195"/>
                <a:gd name="T20" fmla="*/ 0 w 182"/>
                <a:gd name="T21" fmla="*/ 191 h 195"/>
                <a:gd name="T22" fmla="*/ 2 w 182"/>
                <a:gd name="T23" fmla="*/ 181 h 195"/>
                <a:gd name="T24" fmla="*/ 7 w 182"/>
                <a:gd name="T25" fmla="*/ 141 h 195"/>
                <a:gd name="T26" fmla="*/ 26 w 182"/>
                <a:gd name="T27" fmla="*/ 2 h 195"/>
                <a:gd name="T28" fmla="*/ 26 w 182"/>
                <a:gd name="T29" fmla="*/ 0 h 195"/>
                <a:gd name="T30" fmla="*/ 27 w 182"/>
                <a:gd name="T31" fmla="*/ 1 h 195"/>
                <a:gd name="T32" fmla="*/ 121 w 182"/>
                <a:gd name="T33" fmla="*/ 30 h 195"/>
                <a:gd name="T34" fmla="*/ 180 w 182"/>
                <a:gd name="T35" fmla="*/ 48 h 195"/>
                <a:gd name="T36" fmla="*/ 182 w 182"/>
                <a:gd name="T37" fmla="*/ 49 h 195"/>
                <a:gd name="T38" fmla="*/ 180 w 182"/>
                <a:gd name="T39" fmla="*/ 50 h 195"/>
                <a:gd name="T40" fmla="*/ 51 w 182"/>
                <a:gd name="T41" fmla="*/ 154 h 195"/>
                <a:gd name="T42" fmla="*/ 13 w 182"/>
                <a:gd name="T43" fmla="*/ 184 h 195"/>
                <a:gd name="T44" fmla="*/ 3 w 182"/>
                <a:gd name="T45" fmla="*/ 192 h 195"/>
                <a:gd name="T46" fmla="*/ 1 w 182"/>
                <a:gd name="T47" fmla="*/ 194 h 195"/>
                <a:gd name="T48" fmla="*/ 0 w 182"/>
                <a:gd name="T4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2" h="195">
                  <a:moveTo>
                    <a:pt x="0" y="195"/>
                  </a:moveTo>
                  <a:cubicBezTo>
                    <a:pt x="4" y="192"/>
                    <a:pt x="20" y="178"/>
                    <a:pt x="51" y="153"/>
                  </a:cubicBezTo>
                  <a:cubicBezTo>
                    <a:pt x="83" y="126"/>
                    <a:pt x="128" y="90"/>
                    <a:pt x="179" y="48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60" y="44"/>
                    <a:pt x="141" y="38"/>
                    <a:pt x="120" y="32"/>
                  </a:cubicBezTo>
                  <a:cubicBezTo>
                    <a:pt x="87" y="22"/>
                    <a:pt x="55" y="12"/>
                    <a:pt x="26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0" y="58"/>
                    <a:pt x="13" y="106"/>
                    <a:pt x="8" y="140"/>
                  </a:cubicBezTo>
                  <a:cubicBezTo>
                    <a:pt x="3" y="173"/>
                    <a:pt x="1" y="191"/>
                    <a:pt x="0" y="195"/>
                  </a:cubicBezTo>
                  <a:cubicBezTo>
                    <a:pt x="0" y="195"/>
                    <a:pt x="0" y="195"/>
                    <a:pt x="0" y="194"/>
                  </a:cubicBezTo>
                  <a:cubicBezTo>
                    <a:pt x="0" y="193"/>
                    <a:pt x="0" y="193"/>
                    <a:pt x="0" y="191"/>
                  </a:cubicBezTo>
                  <a:cubicBezTo>
                    <a:pt x="1" y="189"/>
                    <a:pt x="1" y="185"/>
                    <a:pt x="2" y="181"/>
                  </a:cubicBezTo>
                  <a:cubicBezTo>
                    <a:pt x="3" y="172"/>
                    <a:pt x="5" y="158"/>
                    <a:pt x="7" y="141"/>
                  </a:cubicBezTo>
                  <a:cubicBezTo>
                    <a:pt x="12" y="107"/>
                    <a:pt x="18" y="58"/>
                    <a:pt x="26" y="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56" y="10"/>
                    <a:pt x="88" y="20"/>
                    <a:pt x="121" y="30"/>
                  </a:cubicBezTo>
                  <a:cubicBezTo>
                    <a:pt x="141" y="36"/>
                    <a:pt x="161" y="42"/>
                    <a:pt x="180" y="48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29" y="91"/>
                    <a:pt x="84" y="128"/>
                    <a:pt x="51" y="154"/>
                  </a:cubicBezTo>
                  <a:cubicBezTo>
                    <a:pt x="35" y="167"/>
                    <a:pt x="22" y="177"/>
                    <a:pt x="13" y="184"/>
                  </a:cubicBezTo>
                  <a:cubicBezTo>
                    <a:pt x="9" y="188"/>
                    <a:pt x="6" y="190"/>
                    <a:pt x="3" y="192"/>
                  </a:cubicBezTo>
                  <a:cubicBezTo>
                    <a:pt x="2" y="193"/>
                    <a:pt x="1" y="194"/>
                    <a:pt x="1" y="194"/>
                  </a:cubicBezTo>
                  <a:cubicBezTo>
                    <a:pt x="0" y="195"/>
                    <a:pt x="0" y="195"/>
                    <a:pt x="0" y="19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0" name="Freeform 91">
              <a:extLst>
                <a:ext uri="{FF2B5EF4-FFF2-40B4-BE49-F238E27FC236}">
                  <a16:creationId xmlns:a16="http://schemas.microsoft.com/office/drawing/2014/main" id="{5D5D88A5-AE3F-6881-0989-540A2068A2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379" y="7481852"/>
              <a:ext cx="71947" cy="191859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1" name="Freeform 92">
              <a:extLst>
                <a:ext uri="{FF2B5EF4-FFF2-40B4-BE49-F238E27FC236}">
                  <a16:creationId xmlns:a16="http://schemas.microsoft.com/office/drawing/2014/main" id="{75C92D5A-463C-1245-3A6E-40CDC2D54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379" y="7481852"/>
              <a:ext cx="71947" cy="191859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2" name="Freeform 100">
              <a:extLst>
                <a:ext uri="{FF2B5EF4-FFF2-40B4-BE49-F238E27FC236}">
                  <a16:creationId xmlns:a16="http://schemas.microsoft.com/office/drawing/2014/main" id="{87D9F13C-5895-56BC-3B26-D600786E7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519" y="8620384"/>
              <a:ext cx="422847" cy="333229"/>
            </a:xfrm>
            <a:custGeom>
              <a:avLst/>
              <a:gdLst>
                <a:gd name="T0" fmla="*/ 0 w 335"/>
                <a:gd name="T1" fmla="*/ 154 h 264"/>
                <a:gd name="T2" fmla="*/ 45 w 335"/>
                <a:gd name="T3" fmla="*/ 107 h 264"/>
                <a:gd name="T4" fmla="*/ 121 w 335"/>
                <a:gd name="T5" fmla="*/ 166 h 264"/>
                <a:gd name="T6" fmla="*/ 295 w 335"/>
                <a:gd name="T7" fmla="*/ 0 h 264"/>
                <a:gd name="T8" fmla="*/ 335 w 335"/>
                <a:gd name="T9" fmla="*/ 48 h 264"/>
                <a:gd name="T10" fmla="*/ 119 w 335"/>
                <a:gd name="T11" fmla="*/ 264 h 264"/>
                <a:gd name="T12" fmla="*/ 0 w 335"/>
                <a:gd name="T13" fmla="*/ 15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4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5" y="0"/>
                  </a:lnTo>
                  <a:lnTo>
                    <a:pt x="335" y="48"/>
                  </a:lnTo>
                  <a:lnTo>
                    <a:pt x="119" y="26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94" name="Rectangle: Rounded Corners 170">
            <a:extLst>
              <a:ext uri="{FF2B5EF4-FFF2-40B4-BE49-F238E27FC236}">
                <a16:creationId xmlns:a16="http://schemas.microsoft.com/office/drawing/2014/main" id="{635FFD92-FD8C-E72A-7D4E-DF736666E4B1}"/>
              </a:ext>
            </a:extLst>
          </p:cNvPr>
          <p:cNvSpPr/>
          <p:nvPr/>
        </p:nvSpPr>
        <p:spPr>
          <a:xfrm>
            <a:off x="3768683" y="2295684"/>
            <a:ext cx="3705984" cy="940323"/>
          </a:xfrm>
          <a:prstGeom prst="roundRect">
            <a:avLst>
              <a:gd name="adj" fmla="val 50000"/>
            </a:avLst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5" name="Rectangle: Rounded Corners 172">
            <a:extLst>
              <a:ext uri="{FF2B5EF4-FFF2-40B4-BE49-F238E27FC236}">
                <a16:creationId xmlns:a16="http://schemas.microsoft.com/office/drawing/2014/main" id="{DDC62E3A-37DE-61C4-1626-A7B7BD3A4F06}"/>
              </a:ext>
            </a:extLst>
          </p:cNvPr>
          <p:cNvSpPr/>
          <p:nvPr/>
        </p:nvSpPr>
        <p:spPr>
          <a:xfrm>
            <a:off x="8124127" y="2308978"/>
            <a:ext cx="3705984" cy="890592"/>
          </a:xfrm>
          <a:prstGeom prst="roundRect">
            <a:avLst>
              <a:gd name="adj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6" name="TextBox 182">
            <a:extLst>
              <a:ext uri="{FF2B5EF4-FFF2-40B4-BE49-F238E27FC236}">
                <a16:creationId xmlns:a16="http://schemas.microsoft.com/office/drawing/2014/main" id="{ED16E910-B268-6E99-4F05-8F553EDC1C78}"/>
              </a:ext>
            </a:extLst>
          </p:cNvPr>
          <p:cNvSpPr txBox="1"/>
          <p:nvPr/>
        </p:nvSpPr>
        <p:spPr>
          <a:xfrm>
            <a:off x="4641797" y="2563431"/>
            <a:ext cx="2557321" cy="51751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ystème de barre de navigation</a:t>
            </a:r>
          </a:p>
        </p:txBody>
      </p:sp>
      <p:sp>
        <p:nvSpPr>
          <p:cNvPr id="98" name="Freeform 17">
            <a:extLst>
              <a:ext uri="{FF2B5EF4-FFF2-40B4-BE49-F238E27FC236}">
                <a16:creationId xmlns:a16="http://schemas.microsoft.com/office/drawing/2014/main" id="{603F5A32-1132-989E-93F8-6F4150AD0809}"/>
              </a:ext>
            </a:extLst>
          </p:cNvPr>
          <p:cNvSpPr>
            <a:spLocks/>
          </p:cNvSpPr>
          <p:nvPr/>
        </p:nvSpPr>
        <p:spPr bwMode="auto">
          <a:xfrm>
            <a:off x="4047318" y="2538676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9" name="Oval 176">
            <a:extLst>
              <a:ext uri="{FF2B5EF4-FFF2-40B4-BE49-F238E27FC236}">
                <a16:creationId xmlns:a16="http://schemas.microsoft.com/office/drawing/2014/main" id="{C833AB52-AD4D-8132-D3A1-9F1259461792}"/>
              </a:ext>
            </a:extLst>
          </p:cNvPr>
          <p:cNvSpPr/>
          <p:nvPr/>
        </p:nvSpPr>
        <p:spPr>
          <a:xfrm>
            <a:off x="8281846" y="2405931"/>
            <a:ext cx="696686" cy="69668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1" name="Freeform 17">
            <a:extLst>
              <a:ext uri="{FF2B5EF4-FFF2-40B4-BE49-F238E27FC236}">
                <a16:creationId xmlns:a16="http://schemas.microsoft.com/office/drawing/2014/main" id="{D900D2C3-A8A8-3AC3-28AB-FF2913692570}"/>
              </a:ext>
            </a:extLst>
          </p:cNvPr>
          <p:cNvSpPr>
            <a:spLocks/>
          </p:cNvSpPr>
          <p:nvPr/>
        </p:nvSpPr>
        <p:spPr bwMode="auto">
          <a:xfrm>
            <a:off x="8447953" y="2635436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9" name="TextBox 182">
            <a:extLst>
              <a:ext uri="{FF2B5EF4-FFF2-40B4-BE49-F238E27FC236}">
                <a16:creationId xmlns:a16="http://schemas.microsoft.com/office/drawing/2014/main" id="{76A6D306-8F19-BC6C-6FBC-05B4B8FF689E}"/>
              </a:ext>
            </a:extLst>
          </p:cNvPr>
          <p:cNvSpPr txBox="1"/>
          <p:nvPr/>
        </p:nvSpPr>
        <p:spPr>
          <a:xfrm>
            <a:off x="4717953" y="4196077"/>
            <a:ext cx="2481165" cy="68198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ge consacré à mon parcours avec liens cliquables</a:t>
            </a:r>
          </a:p>
        </p:txBody>
      </p:sp>
      <p:sp>
        <p:nvSpPr>
          <p:cNvPr id="110" name="Rectangle: Rounded Corners 172">
            <a:extLst>
              <a:ext uri="{FF2B5EF4-FFF2-40B4-BE49-F238E27FC236}">
                <a16:creationId xmlns:a16="http://schemas.microsoft.com/office/drawing/2014/main" id="{4BA8BB93-2E9F-3A08-218E-C5060D330033}"/>
              </a:ext>
            </a:extLst>
          </p:cNvPr>
          <p:cNvSpPr/>
          <p:nvPr/>
        </p:nvSpPr>
        <p:spPr>
          <a:xfrm>
            <a:off x="8150222" y="4052633"/>
            <a:ext cx="3705984" cy="890592"/>
          </a:xfrm>
          <a:prstGeom prst="roundRect">
            <a:avLst>
              <a:gd name="adj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2" name="TextBox 182">
            <a:extLst>
              <a:ext uri="{FF2B5EF4-FFF2-40B4-BE49-F238E27FC236}">
                <a16:creationId xmlns:a16="http://schemas.microsoft.com/office/drawing/2014/main" id="{38C10193-C9A3-B9B9-EA3F-37709D3028F1}"/>
              </a:ext>
            </a:extLst>
          </p:cNvPr>
          <p:cNvSpPr txBox="1"/>
          <p:nvPr/>
        </p:nvSpPr>
        <p:spPr>
          <a:xfrm>
            <a:off x="9045790" y="4194083"/>
            <a:ext cx="2455310" cy="5434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ge de contact </a:t>
            </a:r>
            <a:r>
              <a:rPr lang="en-ID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nctionnel</a:t>
            </a:r>
            <a:endParaRPr lang="en-ID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2" name="Oval 176">
            <a:extLst>
              <a:ext uri="{FF2B5EF4-FFF2-40B4-BE49-F238E27FC236}">
                <a16:creationId xmlns:a16="http://schemas.microsoft.com/office/drawing/2014/main" id="{72CEDA02-7205-01D5-58B2-7CCE29EDC646}"/>
              </a:ext>
            </a:extLst>
          </p:cNvPr>
          <p:cNvSpPr/>
          <p:nvPr/>
        </p:nvSpPr>
        <p:spPr>
          <a:xfrm>
            <a:off x="8384173" y="4140020"/>
            <a:ext cx="696686" cy="69668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4" name="Freeform 17">
            <a:extLst>
              <a:ext uri="{FF2B5EF4-FFF2-40B4-BE49-F238E27FC236}">
                <a16:creationId xmlns:a16="http://schemas.microsoft.com/office/drawing/2014/main" id="{33858ECE-EC03-1AF4-CDBC-71FCA78095EF}"/>
              </a:ext>
            </a:extLst>
          </p:cNvPr>
          <p:cNvSpPr>
            <a:spLocks/>
          </p:cNvSpPr>
          <p:nvPr/>
        </p:nvSpPr>
        <p:spPr bwMode="auto">
          <a:xfrm>
            <a:off x="8550280" y="4311058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16" name="Oval 179">
            <a:extLst>
              <a:ext uri="{FF2B5EF4-FFF2-40B4-BE49-F238E27FC236}">
                <a16:creationId xmlns:a16="http://schemas.microsoft.com/office/drawing/2014/main" id="{58480250-26F0-FD6D-89AD-F56FCBAE7478}"/>
              </a:ext>
            </a:extLst>
          </p:cNvPr>
          <p:cNvSpPr/>
          <p:nvPr/>
        </p:nvSpPr>
        <p:spPr>
          <a:xfrm>
            <a:off x="4008548" y="4181380"/>
            <a:ext cx="696686" cy="69668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3200" b="1" dirty="0">
              <a:solidFill>
                <a:srgbClr val="0D616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TextBox 182">
            <a:extLst>
              <a:ext uri="{FF2B5EF4-FFF2-40B4-BE49-F238E27FC236}">
                <a16:creationId xmlns:a16="http://schemas.microsoft.com/office/drawing/2014/main" id="{CD62139F-8F75-9AE0-BBC4-3A9D41427C90}"/>
              </a:ext>
            </a:extLst>
          </p:cNvPr>
          <p:cNvSpPr txBox="1"/>
          <p:nvPr/>
        </p:nvSpPr>
        <p:spPr>
          <a:xfrm>
            <a:off x="8936205" y="2275192"/>
            <a:ext cx="2920001" cy="8811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ge </a:t>
            </a:r>
            <a:r>
              <a:rPr lang="en-ID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’analyse</a:t>
            </a:r>
            <a:r>
              <a:rPr lang="en-ID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s données avec </a:t>
            </a:r>
            <a:r>
              <a:rPr lang="en-ID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ystème</a:t>
            </a:r>
            <a:r>
              <a:rPr lang="en-ID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ID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ltrage</a:t>
            </a:r>
            <a:endParaRPr lang="en-ID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Oval 179">
            <a:extLst>
              <a:ext uri="{FF2B5EF4-FFF2-40B4-BE49-F238E27FC236}">
                <a16:creationId xmlns:a16="http://schemas.microsoft.com/office/drawing/2014/main" id="{395D9C37-B91E-4015-B6D8-3795D0DB200F}"/>
              </a:ext>
            </a:extLst>
          </p:cNvPr>
          <p:cNvSpPr/>
          <p:nvPr/>
        </p:nvSpPr>
        <p:spPr>
          <a:xfrm>
            <a:off x="3973566" y="2401009"/>
            <a:ext cx="696686" cy="69668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3200" b="1" dirty="0">
              <a:solidFill>
                <a:srgbClr val="0D616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Freeform 17">
            <a:extLst>
              <a:ext uri="{FF2B5EF4-FFF2-40B4-BE49-F238E27FC236}">
                <a16:creationId xmlns:a16="http://schemas.microsoft.com/office/drawing/2014/main" id="{ABC68D4A-EF48-1CBB-FF12-3BACC101E688}"/>
              </a:ext>
            </a:extLst>
          </p:cNvPr>
          <p:cNvSpPr>
            <a:spLocks/>
          </p:cNvSpPr>
          <p:nvPr/>
        </p:nvSpPr>
        <p:spPr bwMode="auto">
          <a:xfrm>
            <a:off x="4128652" y="2592003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" name="Freeform 17">
            <a:extLst>
              <a:ext uri="{FF2B5EF4-FFF2-40B4-BE49-F238E27FC236}">
                <a16:creationId xmlns:a16="http://schemas.microsoft.com/office/drawing/2014/main" id="{34798CD0-952C-0376-8A17-4592409E6C73}"/>
              </a:ext>
            </a:extLst>
          </p:cNvPr>
          <p:cNvSpPr>
            <a:spLocks/>
          </p:cNvSpPr>
          <p:nvPr/>
        </p:nvSpPr>
        <p:spPr bwMode="auto">
          <a:xfrm>
            <a:off x="4168549" y="4387884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" name="Rectangle: Rounded Corners 171">
            <a:extLst>
              <a:ext uri="{FF2B5EF4-FFF2-40B4-BE49-F238E27FC236}">
                <a16:creationId xmlns:a16="http://schemas.microsoft.com/office/drawing/2014/main" id="{2806E68E-6DF5-834B-F891-889618B2C0F7}"/>
              </a:ext>
            </a:extLst>
          </p:cNvPr>
          <p:cNvSpPr/>
          <p:nvPr/>
        </p:nvSpPr>
        <p:spPr>
          <a:xfrm>
            <a:off x="3808570" y="5240442"/>
            <a:ext cx="8047636" cy="934668"/>
          </a:xfrm>
          <a:prstGeom prst="roundRect">
            <a:avLst>
              <a:gd name="adj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182">
            <a:extLst>
              <a:ext uri="{FF2B5EF4-FFF2-40B4-BE49-F238E27FC236}">
                <a16:creationId xmlns:a16="http://schemas.microsoft.com/office/drawing/2014/main" id="{F3B59049-73D7-A5D0-AA9F-C84C2C243A0E}"/>
              </a:ext>
            </a:extLst>
          </p:cNvPr>
          <p:cNvSpPr txBox="1"/>
          <p:nvPr/>
        </p:nvSpPr>
        <p:spPr>
          <a:xfrm>
            <a:off x="5661562" y="5445663"/>
            <a:ext cx="4393529" cy="52422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s résultats des visualisations sont très facilement explicables</a:t>
            </a:r>
          </a:p>
        </p:txBody>
      </p:sp>
    </p:spTree>
    <p:extLst>
      <p:ext uri="{BB962C8B-B14F-4D97-AF65-F5344CB8AC3E}">
        <p14:creationId xmlns:p14="http://schemas.microsoft.com/office/powerpoint/2010/main" val="3050471449"/>
      </p:ext>
    </p:extLst>
  </p:cSld>
  <p:clrMapOvr>
    <a:masterClrMapping/>
  </p:clrMapOvr>
  <p:transition spd="slow">
    <p:push dir="u"/>
    <p:sndAc>
      <p:stSnd>
        <p:snd r:embed="rId4" name="click.wav"/>
      </p:stSnd>
    </p:sndAc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7">
            <a:extLst>
              <a:ext uri="{FF2B5EF4-FFF2-40B4-BE49-F238E27FC236}">
                <a16:creationId xmlns:a16="http://schemas.microsoft.com/office/drawing/2014/main" id="{24929EBE-0BBE-DAA1-12FA-ADFBAE7744F9}"/>
              </a:ext>
            </a:extLst>
          </p:cNvPr>
          <p:cNvSpPr txBox="1"/>
          <p:nvPr/>
        </p:nvSpPr>
        <p:spPr>
          <a:xfrm>
            <a:off x="828399" y="4594380"/>
            <a:ext cx="65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000" i="0" u="none" strike="noStrike" kern="1200" cap="none" spc="0" normalizeH="0" baseline="0" noProof="0">
              <a:ln>
                <a:noFill/>
              </a:ln>
              <a:solidFill>
                <a:srgbClr val="4399FF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5" name="TextBox 89">
            <a:extLst>
              <a:ext uri="{FF2B5EF4-FFF2-40B4-BE49-F238E27FC236}">
                <a16:creationId xmlns:a16="http://schemas.microsoft.com/office/drawing/2014/main" id="{19638DB9-8917-B2F6-2E4F-4DB77A2FDE94}"/>
              </a:ext>
            </a:extLst>
          </p:cNvPr>
          <p:cNvSpPr txBox="1"/>
          <p:nvPr/>
        </p:nvSpPr>
        <p:spPr>
          <a:xfrm>
            <a:off x="828399" y="5525366"/>
            <a:ext cx="65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000" i="0" u="none" strike="noStrike" kern="1200" cap="none" spc="0" normalizeH="0" baseline="0" noProof="0">
              <a:ln>
                <a:noFill/>
              </a:ln>
              <a:solidFill>
                <a:srgbClr val="4399FF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11" name="Rectangle: Rounded Corners 172">
            <a:extLst>
              <a:ext uri="{FF2B5EF4-FFF2-40B4-BE49-F238E27FC236}">
                <a16:creationId xmlns:a16="http://schemas.microsoft.com/office/drawing/2014/main" id="{A4CF9BCE-E1F1-934E-5CB1-8128045503D1}"/>
              </a:ext>
            </a:extLst>
          </p:cNvPr>
          <p:cNvSpPr/>
          <p:nvPr/>
        </p:nvSpPr>
        <p:spPr>
          <a:xfrm>
            <a:off x="2383540" y="1505433"/>
            <a:ext cx="8980061" cy="4426226"/>
          </a:xfrm>
          <a:prstGeom prst="roundRect">
            <a:avLst>
              <a:gd name="adj" fmla="val 13702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Wingdings"/>
              <a:buChar char="q"/>
            </a:pPr>
            <a:r>
              <a:rPr lang="fr-FR" sz="2000" b="1" dirty="0">
                <a:solidFill>
                  <a:srgbClr val="FFCC00"/>
                </a:solidFill>
                <a:latin typeface="Arial"/>
                <a:cs typeface="Arial"/>
              </a:rPr>
              <a:t>SUJET : </a:t>
            </a:r>
            <a:r>
              <a:rPr lang="fr-FR" sz="2000" dirty="0"/>
              <a:t>Analyse des Fréquences des </a:t>
            </a:r>
            <a:r>
              <a:rPr lang="fr-FR" sz="2000" b="1" dirty="0"/>
              <a:t>Gares</a:t>
            </a:r>
            <a:r>
              <a:rPr lang="fr-FR" sz="2000" dirty="0"/>
              <a:t> en France </a:t>
            </a:r>
            <a:r>
              <a:rPr lang="fr-FR" sz="2000" b="1" i="0" dirty="0">
                <a:solidFill>
                  <a:srgbClr val="31333F"/>
                </a:solidFill>
                <a:effectLst/>
                <a:latin typeface="Source Sans Pro" panose="020B0503030403020204" pitchFamily="34" charset="0"/>
              </a:rPr>
              <a:t>🚉</a:t>
            </a:r>
            <a:endParaRPr lang="fr-FR" sz="2000" dirty="0"/>
          </a:p>
          <a:p>
            <a:endParaRPr lang="fr-FR" sz="2000" b="1" dirty="0">
              <a:solidFill>
                <a:schemeClr val="bg1"/>
              </a:solidFill>
              <a:latin typeface="Arial"/>
              <a:cs typeface="Arial"/>
            </a:endParaRPr>
          </a:p>
          <a:p>
            <a:pPr marL="285750" indent="-285750">
              <a:buFont typeface="Wingdings"/>
              <a:buChar char="q"/>
            </a:pPr>
            <a:r>
              <a:rPr lang="fr-FR" sz="2000" b="1" dirty="0">
                <a:solidFill>
                  <a:srgbClr val="FFCC00"/>
                </a:solidFill>
                <a:latin typeface="Arial"/>
                <a:cs typeface="Arial"/>
              </a:rPr>
              <a:t>CONTEXTE</a:t>
            </a:r>
            <a:r>
              <a:rPr lang="fr-FR" sz="2000" dirty="0">
                <a:solidFill>
                  <a:srgbClr val="FFCC00"/>
                </a:solidFill>
                <a:latin typeface="Arial"/>
                <a:cs typeface="Arial"/>
              </a:rPr>
              <a:t> : </a:t>
            </a:r>
          </a:p>
          <a:p>
            <a:r>
              <a:rPr lang="fr-FR" sz="2000" dirty="0">
                <a:solidFill>
                  <a:schemeClr val="bg1"/>
                </a:solidFill>
                <a:latin typeface="Arial"/>
                <a:cs typeface="Arial"/>
              </a:rPr>
              <a:t>- </a:t>
            </a:r>
            <a:r>
              <a:rPr lang="fr-FR" sz="2000" dirty="0"/>
              <a:t>Source des données de </a:t>
            </a:r>
            <a:r>
              <a:rPr lang="fr-FR" sz="2000" b="1" dirty="0"/>
              <a:t>Data.gouv.fr</a:t>
            </a:r>
          </a:p>
          <a:p>
            <a:r>
              <a:rPr lang="fr-FR" sz="2000" b="1" dirty="0"/>
              <a:t>- Les exploiter pour proposer un tableau de bord sur </a:t>
            </a:r>
            <a:r>
              <a:rPr lang="fr-FR" sz="2000" b="1" dirty="0" err="1"/>
              <a:t>Streamlit</a:t>
            </a:r>
            <a:endParaRPr lang="fr-FR" sz="2000" b="1" dirty="0"/>
          </a:p>
          <a:p>
            <a:r>
              <a:rPr lang="fr-FR" sz="2000" b="1" dirty="0"/>
              <a:t>     (</a:t>
            </a:r>
            <a:r>
              <a:rPr lang="fr-FR" sz="2000" dirty="0"/>
              <a:t>interface interactive, simple d’utilisation</a:t>
            </a:r>
            <a:r>
              <a:rPr lang="fr-FR" sz="2000" b="1" dirty="0"/>
              <a:t>)</a:t>
            </a:r>
          </a:p>
          <a:p>
            <a:endParaRPr lang="fr-FR" sz="20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fr-FR" sz="2000" b="1" dirty="0">
                <a:solidFill>
                  <a:srgbClr val="FFCC00"/>
                </a:solidFill>
                <a:latin typeface="Arial"/>
                <a:cs typeface="Arial"/>
              </a:rPr>
              <a:t>OBJECTIF</a:t>
            </a:r>
            <a:r>
              <a:rPr lang="fr-FR" sz="2000" dirty="0">
                <a:solidFill>
                  <a:srgbClr val="FFCC00"/>
                </a:solidFill>
                <a:latin typeface="Arial"/>
                <a:cs typeface="Arial"/>
              </a:rPr>
              <a:t> </a:t>
            </a:r>
            <a:r>
              <a:rPr lang="fr-FR" sz="2000" b="1" dirty="0">
                <a:solidFill>
                  <a:srgbClr val="FFCC00"/>
                </a:solidFill>
                <a:latin typeface="Arial"/>
                <a:cs typeface="Arial"/>
              </a:rPr>
              <a:t>ET CHOIX DU PROJET </a:t>
            </a:r>
            <a:r>
              <a:rPr lang="fr-FR" sz="2000" dirty="0">
                <a:solidFill>
                  <a:srgbClr val="FFCC00"/>
                </a:solidFill>
                <a:latin typeface="Arial"/>
                <a:cs typeface="Arial"/>
              </a:rPr>
              <a:t>: </a:t>
            </a:r>
          </a:p>
          <a:p>
            <a:pPr marL="342900" indent="-342900">
              <a:buFontTx/>
              <a:buChar char="-"/>
            </a:pPr>
            <a:r>
              <a:rPr lang="fr-FR" sz="2000" dirty="0"/>
              <a:t>Explorer les tendances d’utilisation des gares pour soutenir les prises de décision dans l'amélioration des infrastructures</a:t>
            </a:r>
          </a:p>
          <a:p>
            <a:pPr marL="342900" indent="-342900">
              <a:buFontTx/>
              <a:buChar char="-"/>
            </a:pPr>
            <a:r>
              <a:rPr lang="fr-FR" sz="2000" dirty="0"/>
              <a:t>Mettre en avant le </a:t>
            </a:r>
            <a:r>
              <a:rPr lang="fr-FR" sz="2000" b="1" dirty="0"/>
              <a:t>Grand Paris </a:t>
            </a:r>
            <a:r>
              <a:rPr lang="fr-FR" sz="2000" dirty="0"/>
              <a:t>qui feront la jonction avec les gares </a:t>
            </a:r>
            <a:br>
              <a:rPr lang="fr-FR" sz="2000" b="1" dirty="0"/>
            </a:br>
            <a:r>
              <a:rPr lang="fr-FR" sz="2000" b="1" dirty="0"/>
              <a:t>(</a:t>
            </a:r>
            <a:r>
              <a:rPr lang="fr-FR" sz="2000" dirty="0"/>
              <a:t>ligne 15 à Villejuif)</a:t>
            </a:r>
          </a:p>
          <a:p>
            <a:pPr marL="342900" indent="-342900">
              <a:buFontTx/>
              <a:buChar char="-"/>
            </a:pPr>
            <a:r>
              <a:rPr lang="fr-FR" sz="2000" dirty="0"/>
              <a:t>Mettre en lumière des initiatives telles que le </a:t>
            </a:r>
            <a:r>
              <a:rPr lang="fr-FR" sz="2000" b="1" dirty="0" err="1"/>
              <a:t>Pass</a:t>
            </a:r>
            <a:r>
              <a:rPr lang="fr-FR" sz="2000" b="1" dirty="0"/>
              <a:t> Rail</a:t>
            </a:r>
            <a:r>
              <a:rPr lang="fr-FR" sz="2000" dirty="0"/>
              <a:t> pour les jeunes</a:t>
            </a:r>
            <a:endParaRPr lang="fr-FR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TextBox 83">
            <a:extLst>
              <a:ext uri="{FF2B5EF4-FFF2-40B4-BE49-F238E27FC236}">
                <a16:creationId xmlns:a16="http://schemas.microsoft.com/office/drawing/2014/main" id="{1D785552-3F0E-F0A9-168B-BA4504F4E1CF}"/>
              </a:ext>
            </a:extLst>
          </p:cNvPr>
          <p:cNvSpPr txBox="1"/>
          <p:nvPr/>
        </p:nvSpPr>
        <p:spPr>
          <a:xfrm>
            <a:off x="10330" y="646430"/>
            <a:ext cx="121713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defRPr/>
            </a:pP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Arial Black"/>
              </a:rPr>
              <a:t>Introduction et </a:t>
            </a:r>
            <a:r>
              <a:rPr lang="en-US" sz="4000" dirty="0" err="1">
                <a:solidFill>
                  <a:schemeClr val="accent1">
                    <a:lumMod val="75000"/>
                  </a:schemeClr>
                </a:solidFill>
                <a:latin typeface="Arial Black"/>
              </a:rPr>
              <a:t>Contexte</a:t>
            </a:r>
            <a:endParaRPr lang="en-US" sz="40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50180938-77AC-8C3D-6982-F8AAC3222E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" b="23021"/>
          <a:stretch/>
        </p:blipFill>
        <p:spPr>
          <a:xfrm>
            <a:off x="-1126778" y="2944585"/>
            <a:ext cx="3676033" cy="3913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671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70000">
              <a:srgbClr val="00206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ángulo 3">
            <a:extLst>
              <a:ext uri="{FF2B5EF4-FFF2-40B4-BE49-F238E27FC236}">
                <a16:creationId xmlns:a16="http://schemas.microsoft.com/office/drawing/2014/main" id="{67DB9507-D8A3-A2AF-8CEA-C7A262BEB533}"/>
              </a:ext>
            </a:extLst>
          </p:cNvPr>
          <p:cNvSpPr/>
          <p:nvPr/>
        </p:nvSpPr>
        <p:spPr>
          <a:xfrm>
            <a:off x="3831091" y="805746"/>
            <a:ext cx="6678192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MMAIRE</a:t>
            </a:r>
            <a:endParaRPr lang="fr-FR">
              <a:ea typeface="+mn-ea"/>
            </a:endParaRPr>
          </a:p>
        </p:txBody>
      </p:sp>
      <p:sp>
        <p:nvSpPr>
          <p:cNvPr id="54" name="Rectangle: Rounded Corners 10">
            <a:extLst>
              <a:ext uri="{FF2B5EF4-FFF2-40B4-BE49-F238E27FC236}">
                <a16:creationId xmlns:a16="http://schemas.microsoft.com/office/drawing/2014/main" id="{14BA0168-AE64-06BE-F8DE-9CEAA4D015CE}"/>
              </a:ext>
            </a:extLst>
          </p:cNvPr>
          <p:cNvSpPr/>
          <p:nvPr/>
        </p:nvSpPr>
        <p:spPr>
          <a:xfrm>
            <a:off x="770165" y="816429"/>
            <a:ext cx="10651671" cy="5225143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ángulo 3">
            <a:extLst>
              <a:ext uri="{FF2B5EF4-FFF2-40B4-BE49-F238E27FC236}">
                <a16:creationId xmlns:a16="http://schemas.microsoft.com/office/drawing/2014/main" id="{5A0781EF-6284-10EF-345D-E8C55B2F31C6}"/>
              </a:ext>
            </a:extLst>
          </p:cNvPr>
          <p:cNvSpPr/>
          <p:nvPr/>
        </p:nvSpPr>
        <p:spPr>
          <a:xfrm>
            <a:off x="5876926" y="2560637"/>
            <a:ext cx="4986948" cy="175432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b="1" dirty="0" err="1">
                <a:latin typeface="Arial Black"/>
                <a:cs typeface="Segoe UI"/>
              </a:rPr>
              <a:t>Présentation</a:t>
            </a:r>
            <a:r>
              <a:rPr lang="en-US" sz="3600" b="1" dirty="0">
                <a:latin typeface="Arial Black"/>
                <a:cs typeface="Segoe UI"/>
              </a:rPr>
              <a:t> de ma solution technique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cs typeface="Segoe UI" panose="020B0502040204020203" pitchFamily="34" charset="0"/>
            </a:endParaRPr>
          </a:p>
        </p:txBody>
      </p:sp>
      <p:grpSp>
        <p:nvGrpSpPr>
          <p:cNvPr id="56" name="Group 4">
            <a:extLst>
              <a:ext uri="{FF2B5EF4-FFF2-40B4-BE49-F238E27FC236}">
                <a16:creationId xmlns:a16="http://schemas.microsoft.com/office/drawing/2014/main" id="{4ABA446E-D912-31EF-5F3A-62B1C9CD60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09663" y="1311275"/>
            <a:ext cx="4489450" cy="4206874"/>
            <a:chOff x="699" y="826"/>
            <a:chExt cx="2828" cy="2650"/>
          </a:xfrm>
        </p:grpSpPr>
        <p:grpSp>
          <p:nvGrpSpPr>
            <p:cNvPr id="57" name="Group 205">
              <a:extLst>
                <a:ext uri="{FF2B5EF4-FFF2-40B4-BE49-F238E27FC236}">
                  <a16:creationId xmlns:a16="http://schemas.microsoft.com/office/drawing/2014/main" id="{EF52543F-2941-9709-14A4-BA73188CD73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9" y="826"/>
              <a:ext cx="2828" cy="2635"/>
              <a:chOff x="699" y="826"/>
              <a:chExt cx="2828" cy="2635"/>
            </a:xfrm>
          </p:grpSpPr>
          <p:sp>
            <p:nvSpPr>
              <p:cNvPr id="1143" name="Freeform 5">
                <a:extLst>
                  <a:ext uri="{FF2B5EF4-FFF2-40B4-BE49-F238E27FC236}">
                    <a16:creationId xmlns:a16="http://schemas.microsoft.com/office/drawing/2014/main" id="{BEAEAF11-DA9C-3349-0D35-18DAD0964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" y="2972"/>
                <a:ext cx="107" cy="43"/>
              </a:xfrm>
              <a:custGeom>
                <a:avLst/>
                <a:gdLst>
                  <a:gd name="T0" fmla="*/ 65 w 65"/>
                  <a:gd name="T1" fmla="*/ 15 h 26"/>
                  <a:gd name="T2" fmla="*/ 22 w 65"/>
                  <a:gd name="T3" fmla="*/ 1 h 26"/>
                  <a:gd name="T4" fmla="*/ 2 w 65"/>
                  <a:gd name="T5" fmla="*/ 5 h 26"/>
                  <a:gd name="T6" fmla="*/ 0 w 65"/>
                  <a:gd name="T7" fmla="*/ 8 h 26"/>
                  <a:gd name="T8" fmla="*/ 2 w 65"/>
                  <a:gd name="T9" fmla="*/ 11 h 26"/>
                  <a:gd name="T10" fmla="*/ 65 w 65"/>
                  <a:gd name="T11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26">
                    <a:moveTo>
                      <a:pt x="65" y="15"/>
                    </a:moveTo>
                    <a:cubicBezTo>
                      <a:pt x="52" y="7"/>
                      <a:pt x="37" y="2"/>
                      <a:pt x="22" y="1"/>
                    </a:cubicBezTo>
                    <a:cubicBezTo>
                      <a:pt x="15" y="0"/>
                      <a:pt x="8" y="0"/>
                      <a:pt x="2" y="5"/>
                    </a:cubicBezTo>
                    <a:cubicBezTo>
                      <a:pt x="1" y="5"/>
                      <a:pt x="0" y="7"/>
                      <a:pt x="0" y="8"/>
                    </a:cubicBezTo>
                    <a:cubicBezTo>
                      <a:pt x="0" y="9"/>
                      <a:pt x="1" y="10"/>
                      <a:pt x="2" y="11"/>
                    </a:cubicBezTo>
                    <a:cubicBezTo>
                      <a:pt x="19" y="24"/>
                      <a:pt x="45" y="26"/>
                      <a:pt x="65" y="1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4" name="Freeform 6">
                <a:extLst>
                  <a:ext uri="{FF2B5EF4-FFF2-40B4-BE49-F238E27FC236}">
                    <a16:creationId xmlns:a16="http://schemas.microsoft.com/office/drawing/2014/main" id="{BD07C37B-FED4-A793-3B29-343E37CA90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" y="2886"/>
                <a:ext cx="75" cy="109"/>
              </a:xfrm>
              <a:custGeom>
                <a:avLst/>
                <a:gdLst>
                  <a:gd name="T0" fmla="*/ 46 w 46"/>
                  <a:gd name="T1" fmla="*/ 66 h 66"/>
                  <a:gd name="T2" fmla="*/ 18 w 46"/>
                  <a:gd name="T3" fmla="*/ 42 h 66"/>
                  <a:gd name="T4" fmla="*/ 1 w 46"/>
                  <a:gd name="T5" fmla="*/ 11 h 66"/>
                  <a:gd name="T6" fmla="*/ 2 w 46"/>
                  <a:gd name="T7" fmla="*/ 0 h 66"/>
                  <a:gd name="T8" fmla="*/ 46 w 46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66">
                    <a:moveTo>
                      <a:pt x="46" y="66"/>
                    </a:moveTo>
                    <a:cubicBezTo>
                      <a:pt x="36" y="59"/>
                      <a:pt x="26" y="51"/>
                      <a:pt x="18" y="42"/>
                    </a:cubicBezTo>
                    <a:cubicBezTo>
                      <a:pt x="10" y="33"/>
                      <a:pt x="4" y="22"/>
                      <a:pt x="1" y="11"/>
                    </a:cubicBezTo>
                    <a:cubicBezTo>
                      <a:pt x="0" y="7"/>
                      <a:pt x="0" y="3"/>
                      <a:pt x="2" y="0"/>
                    </a:cubicBezTo>
                    <a:cubicBezTo>
                      <a:pt x="24" y="17"/>
                      <a:pt x="41" y="39"/>
                      <a:pt x="46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5" name="Freeform 7">
                <a:extLst>
                  <a:ext uri="{FF2B5EF4-FFF2-40B4-BE49-F238E27FC236}">
                    <a16:creationId xmlns:a16="http://schemas.microsoft.com/office/drawing/2014/main" id="{2EE918DD-04EA-94DD-A9E0-4442A93F7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" y="2889"/>
                <a:ext cx="43" cy="112"/>
              </a:xfrm>
              <a:custGeom>
                <a:avLst/>
                <a:gdLst>
                  <a:gd name="T0" fmla="*/ 2 w 26"/>
                  <a:gd name="T1" fmla="*/ 65 h 68"/>
                  <a:gd name="T2" fmla="*/ 3 w 26"/>
                  <a:gd name="T3" fmla="*/ 29 h 68"/>
                  <a:gd name="T4" fmla="*/ 22 w 26"/>
                  <a:gd name="T5" fmla="*/ 0 h 68"/>
                  <a:gd name="T6" fmla="*/ 22 w 26"/>
                  <a:gd name="T7" fmla="*/ 28 h 68"/>
                  <a:gd name="T8" fmla="*/ 3 w 26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8">
                    <a:moveTo>
                      <a:pt x="2" y="65"/>
                    </a:moveTo>
                    <a:cubicBezTo>
                      <a:pt x="1" y="53"/>
                      <a:pt x="0" y="41"/>
                      <a:pt x="3" y="29"/>
                    </a:cubicBezTo>
                    <a:cubicBezTo>
                      <a:pt x="6" y="18"/>
                      <a:pt x="12" y="7"/>
                      <a:pt x="22" y="0"/>
                    </a:cubicBezTo>
                    <a:cubicBezTo>
                      <a:pt x="26" y="9"/>
                      <a:pt x="24" y="19"/>
                      <a:pt x="22" y="28"/>
                    </a:cubicBezTo>
                    <a:cubicBezTo>
                      <a:pt x="17" y="42"/>
                      <a:pt x="11" y="56"/>
                      <a:pt x="3" y="68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6" name="Freeform 8">
                <a:extLst>
                  <a:ext uri="{FF2B5EF4-FFF2-40B4-BE49-F238E27FC236}">
                    <a16:creationId xmlns:a16="http://schemas.microsoft.com/office/drawing/2014/main" id="{AAEC579E-0E0A-B9B8-E8F8-A4B93D708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" y="3061"/>
                <a:ext cx="89" cy="82"/>
              </a:xfrm>
              <a:custGeom>
                <a:avLst/>
                <a:gdLst>
                  <a:gd name="T0" fmla="*/ 54 w 54"/>
                  <a:gd name="T1" fmla="*/ 0 h 50"/>
                  <a:gd name="T2" fmla="*/ 20 w 54"/>
                  <a:gd name="T3" fmla="*/ 17 h 50"/>
                  <a:gd name="T4" fmla="*/ 0 w 54"/>
                  <a:gd name="T5" fmla="*/ 50 h 50"/>
                  <a:gd name="T6" fmla="*/ 32 w 54"/>
                  <a:gd name="T7" fmla="*/ 30 h 50"/>
                  <a:gd name="T8" fmla="*/ 54 w 54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50">
                    <a:moveTo>
                      <a:pt x="54" y="0"/>
                    </a:moveTo>
                    <a:cubicBezTo>
                      <a:pt x="41" y="1"/>
                      <a:pt x="30" y="8"/>
                      <a:pt x="20" y="17"/>
                    </a:cubicBezTo>
                    <a:cubicBezTo>
                      <a:pt x="10" y="25"/>
                      <a:pt x="3" y="37"/>
                      <a:pt x="0" y="50"/>
                    </a:cubicBezTo>
                    <a:cubicBezTo>
                      <a:pt x="13" y="49"/>
                      <a:pt x="24" y="40"/>
                      <a:pt x="32" y="30"/>
                    </a:cubicBezTo>
                    <a:cubicBezTo>
                      <a:pt x="40" y="20"/>
                      <a:pt x="45" y="9"/>
                      <a:pt x="54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7" name="Freeform 9">
                <a:extLst>
                  <a:ext uri="{FF2B5EF4-FFF2-40B4-BE49-F238E27FC236}">
                    <a16:creationId xmlns:a16="http://schemas.microsoft.com/office/drawing/2014/main" id="{454C7514-9AC5-CAB5-C9A8-32089D17C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" y="2940"/>
                <a:ext cx="44" cy="131"/>
              </a:xfrm>
              <a:custGeom>
                <a:avLst/>
                <a:gdLst>
                  <a:gd name="T0" fmla="*/ 10 w 27"/>
                  <a:gd name="T1" fmla="*/ 79 h 79"/>
                  <a:gd name="T2" fmla="*/ 20 w 27"/>
                  <a:gd name="T3" fmla="*/ 0 h 79"/>
                  <a:gd name="T4" fmla="*/ 10 w 27"/>
                  <a:gd name="T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79">
                    <a:moveTo>
                      <a:pt x="10" y="79"/>
                    </a:moveTo>
                    <a:cubicBezTo>
                      <a:pt x="0" y="53"/>
                      <a:pt x="4" y="22"/>
                      <a:pt x="20" y="0"/>
                    </a:cubicBezTo>
                    <a:cubicBezTo>
                      <a:pt x="27" y="26"/>
                      <a:pt x="25" y="55"/>
                      <a:pt x="10" y="79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8" name="Freeform 10">
                <a:extLst>
                  <a:ext uri="{FF2B5EF4-FFF2-40B4-BE49-F238E27FC236}">
                    <a16:creationId xmlns:a16="http://schemas.microsoft.com/office/drawing/2014/main" id="{C5C6DC17-BE6A-0A75-12E9-49A372245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" y="3125"/>
                <a:ext cx="99" cy="64"/>
              </a:xfrm>
              <a:custGeom>
                <a:avLst/>
                <a:gdLst>
                  <a:gd name="T0" fmla="*/ 60 w 60"/>
                  <a:gd name="T1" fmla="*/ 0 h 39"/>
                  <a:gd name="T2" fmla="*/ 26 w 60"/>
                  <a:gd name="T3" fmla="*/ 8 h 39"/>
                  <a:gd name="T4" fmla="*/ 2 w 60"/>
                  <a:gd name="T5" fmla="*/ 34 h 39"/>
                  <a:gd name="T6" fmla="*/ 1 w 60"/>
                  <a:gd name="T7" fmla="*/ 38 h 39"/>
                  <a:gd name="T8" fmla="*/ 5 w 60"/>
                  <a:gd name="T9" fmla="*/ 39 h 39"/>
                  <a:gd name="T10" fmla="*/ 35 w 60"/>
                  <a:gd name="T11" fmla="*/ 24 h 39"/>
                  <a:gd name="T12" fmla="*/ 60 w 60"/>
                  <a:gd name="T1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39">
                    <a:moveTo>
                      <a:pt x="60" y="0"/>
                    </a:moveTo>
                    <a:cubicBezTo>
                      <a:pt x="48" y="0"/>
                      <a:pt x="36" y="2"/>
                      <a:pt x="26" y="8"/>
                    </a:cubicBezTo>
                    <a:cubicBezTo>
                      <a:pt x="15" y="14"/>
                      <a:pt x="7" y="23"/>
                      <a:pt x="2" y="34"/>
                    </a:cubicBezTo>
                    <a:cubicBezTo>
                      <a:pt x="1" y="35"/>
                      <a:pt x="0" y="37"/>
                      <a:pt x="1" y="38"/>
                    </a:cubicBezTo>
                    <a:cubicBezTo>
                      <a:pt x="2" y="39"/>
                      <a:pt x="4" y="39"/>
                      <a:pt x="5" y="39"/>
                    </a:cubicBezTo>
                    <a:cubicBezTo>
                      <a:pt x="17" y="38"/>
                      <a:pt x="27" y="32"/>
                      <a:pt x="35" y="24"/>
                    </a:cubicBezTo>
                    <a:cubicBezTo>
                      <a:pt x="43" y="16"/>
                      <a:pt x="51" y="7"/>
                      <a:pt x="60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9" name="Freeform 11">
                <a:extLst>
                  <a:ext uri="{FF2B5EF4-FFF2-40B4-BE49-F238E27FC236}">
                    <a16:creationId xmlns:a16="http://schemas.microsoft.com/office/drawing/2014/main" id="{3BA4018B-F067-A831-9725-B387A4B74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0" y="2990"/>
                <a:ext cx="41" cy="132"/>
              </a:xfrm>
              <a:custGeom>
                <a:avLst/>
                <a:gdLst>
                  <a:gd name="T0" fmla="*/ 7 w 25"/>
                  <a:gd name="T1" fmla="*/ 80 h 80"/>
                  <a:gd name="T2" fmla="*/ 6 w 25"/>
                  <a:gd name="T3" fmla="*/ 20 h 80"/>
                  <a:gd name="T4" fmla="*/ 18 w 25"/>
                  <a:gd name="T5" fmla="*/ 1 h 80"/>
                  <a:gd name="T6" fmla="*/ 20 w 25"/>
                  <a:gd name="T7" fmla="*/ 0 h 80"/>
                  <a:gd name="T8" fmla="*/ 22 w 25"/>
                  <a:gd name="T9" fmla="*/ 2 h 80"/>
                  <a:gd name="T10" fmla="*/ 25 w 25"/>
                  <a:gd name="T11" fmla="*/ 19 h 80"/>
                  <a:gd name="T12" fmla="*/ 22 w 25"/>
                  <a:gd name="T13" fmla="*/ 37 h 80"/>
                  <a:gd name="T14" fmla="*/ 13 w 25"/>
                  <a:gd name="T15" fmla="*/ 68 h 80"/>
                  <a:gd name="T16" fmla="*/ 9 w 25"/>
                  <a:gd name="T17" fmla="*/ 75 h 80"/>
                  <a:gd name="T18" fmla="*/ 7 w 25"/>
                  <a:gd name="T1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80">
                    <a:moveTo>
                      <a:pt x="7" y="80"/>
                    </a:moveTo>
                    <a:cubicBezTo>
                      <a:pt x="1" y="61"/>
                      <a:pt x="0" y="40"/>
                      <a:pt x="6" y="20"/>
                    </a:cubicBezTo>
                    <a:cubicBezTo>
                      <a:pt x="8" y="13"/>
                      <a:pt x="11" y="4"/>
                      <a:pt x="18" y="1"/>
                    </a:cubicBezTo>
                    <a:cubicBezTo>
                      <a:pt x="19" y="0"/>
                      <a:pt x="20" y="0"/>
                      <a:pt x="20" y="0"/>
                    </a:cubicBezTo>
                    <a:cubicBezTo>
                      <a:pt x="21" y="1"/>
                      <a:pt x="21" y="1"/>
                      <a:pt x="22" y="2"/>
                    </a:cubicBezTo>
                    <a:cubicBezTo>
                      <a:pt x="24" y="7"/>
                      <a:pt x="25" y="13"/>
                      <a:pt x="25" y="19"/>
                    </a:cubicBezTo>
                    <a:cubicBezTo>
                      <a:pt x="24" y="25"/>
                      <a:pt x="23" y="31"/>
                      <a:pt x="22" y="37"/>
                    </a:cubicBezTo>
                    <a:cubicBezTo>
                      <a:pt x="20" y="47"/>
                      <a:pt x="19" y="59"/>
                      <a:pt x="13" y="68"/>
                    </a:cubicBezTo>
                    <a:cubicBezTo>
                      <a:pt x="11" y="70"/>
                      <a:pt x="10" y="72"/>
                      <a:pt x="9" y="75"/>
                    </a:cubicBezTo>
                    <a:cubicBezTo>
                      <a:pt x="8" y="77"/>
                      <a:pt x="8" y="78"/>
                      <a:pt x="7" y="8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0" name="Freeform 12">
                <a:extLst>
                  <a:ext uri="{FF2B5EF4-FFF2-40B4-BE49-F238E27FC236}">
                    <a16:creationId xmlns:a16="http://schemas.microsoft.com/office/drawing/2014/main" id="{E7661BC3-6A84-A337-C706-F7DF7B8164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" y="3031"/>
                <a:ext cx="43" cy="110"/>
              </a:xfrm>
              <a:custGeom>
                <a:avLst/>
                <a:gdLst>
                  <a:gd name="T0" fmla="*/ 5 w 26"/>
                  <a:gd name="T1" fmla="*/ 67 h 67"/>
                  <a:gd name="T2" fmla="*/ 19 w 26"/>
                  <a:gd name="T3" fmla="*/ 3 h 67"/>
                  <a:gd name="T4" fmla="*/ 23 w 26"/>
                  <a:gd name="T5" fmla="*/ 0 h 67"/>
                  <a:gd name="T6" fmla="*/ 26 w 26"/>
                  <a:gd name="T7" fmla="*/ 6 h 67"/>
                  <a:gd name="T8" fmla="*/ 5 w 26"/>
                  <a:gd name="T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7">
                    <a:moveTo>
                      <a:pt x="5" y="67"/>
                    </a:moveTo>
                    <a:cubicBezTo>
                      <a:pt x="0" y="46"/>
                      <a:pt x="6" y="20"/>
                      <a:pt x="19" y="3"/>
                    </a:cubicBezTo>
                    <a:cubicBezTo>
                      <a:pt x="20" y="1"/>
                      <a:pt x="21" y="0"/>
                      <a:pt x="23" y="0"/>
                    </a:cubicBezTo>
                    <a:cubicBezTo>
                      <a:pt x="25" y="1"/>
                      <a:pt x="26" y="4"/>
                      <a:pt x="26" y="6"/>
                    </a:cubicBezTo>
                    <a:cubicBezTo>
                      <a:pt x="25" y="28"/>
                      <a:pt x="18" y="49"/>
                      <a:pt x="5" y="67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1" name="Freeform 13">
                <a:extLst>
                  <a:ext uri="{FF2B5EF4-FFF2-40B4-BE49-F238E27FC236}">
                    <a16:creationId xmlns:a16="http://schemas.microsoft.com/office/drawing/2014/main" id="{13E3F5C1-BDC9-7807-08F1-03A74C1CA9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3108"/>
                <a:ext cx="125" cy="51"/>
              </a:xfrm>
              <a:custGeom>
                <a:avLst/>
                <a:gdLst>
                  <a:gd name="T0" fmla="*/ 0 w 76"/>
                  <a:gd name="T1" fmla="*/ 24 h 31"/>
                  <a:gd name="T2" fmla="*/ 76 w 76"/>
                  <a:gd name="T3" fmla="*/ 9 h 31"/>
                  <a:gd name="T4" fmla="*/ 35 w 76"/>
                  <a:gd name="T5" fmla="*/ 4 h 31"/>
                  <a:gd name="T6" fmla="*/ 0 w 76"/>
                  <a:gd name="T7" fmla="*/ 2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" h="31">
                    <a:moveTo>
                      <a:pt x="0" y="24"/>
                    </a:moveTo>
                    <a:cubicBezTo>
                      <a:pt x="26" y="31"/>
                      <a:pt x="55" y="24"/>
                      <a:pt x="76" y="9"/>
                    </a:cubicBezTo>
                    <a:cubicBezTo>
                      <a:pt x="64" y="2"/>
                      <a:pt x="49" y="0"/>
                      <a:pt x="35" y="4"/>
                    </a:cubicBezTo>
                    <a:cubicBezTo>
                      <a:pt x="21" y="7"/>
                      <a:pt x="9" y="13"/>
                      <a:pt x="0" y="2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2" name="Freeform 14">
                <a:extLst>
                  <a:ext uri="{FF2B5EF4-FFF2-40B4-BE49-F238E27FC236}">
                    <a16:creationId xmlns:a16="http://schemas.microsoft.com/office/drawing/2014/main" id="{6FEFDBD5-A4AE-3A0E-C511-8B2A069E6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" y="3059"/>
                <a:ext cx="113" cy="66"/>
              </a:xfrm>
              <a:custGeom>
                <a:avLst/>
                <a:gdLst>
                  <a:gd name="T0" fmla="*/ 0 w 69"/>
                  <a:gd name="T1" fmla="*/ 40 h 40"/>
                  <a:gd name="T2" fmla="*/ 69 w 69"/>
                  <a:gd name="T3" fmla="*/ 0 h 40"/>
                  <a:gd name="T4" fmla="*/ 46 w 69"/>
                  <a:gd name="T5" fmla="*/ 25 h 40"/>
                  <a:gd name="T6" fmla="*/ 13 w 69"/>
                  <a:gd name="T7" fmla="*/ 35 h 40"/>
                  <a:gd name="T8" fmla="*/ 0 w 69"/>
                  <a:gd name="T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40">
                    <a:moveTo>
                      <a:pt x="0" y="40"/>
                    </a:moveTo>
                    <a:cubicBezTo>
                      <a:pt x="14" y="17"/>
                      <a:pt x="42" y="2"/>
                      <a:pt x="69" y="0"/>
                    </a:cubicBezTo>
                    <a:cubicBezTo>
                      <a:pt x="66" y="11"/>
                      <a:pt x="57" y="20"/>
                      <a:pt x="46" y="25"/>
                    </a:cubicBezTo>
                    <a:cubicBezTo>
                      <a:pt x="36" y="30"/>
                      <a:pt x="24" y="33"/>
                      <a:pt x="13" y="35"/>
                    </a:cubicBezTo>
                    <a:cubicBezTo>
                      <a:pt x="9" y="36"/>
                      <a:pt x="3" y="37"/>
                      <a:pt x="0" y="4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3" name="Freeform 15">
                <a:extLst>
                  <a:ext uri="{FF2B5EF4-FFF2-40B4-BE49-F238E27FC236}">
                    <a16:creationId xmlns:a16="http://schemas.microsoft.com/office/drawing/2014/main" id="{1DBA7A86-ACE9-2057-1C4F-85E72F9BF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3" y="2881"/>
                <a:ext cx="40" cy="135"/>
              </a:xfrm>
              <a:custGeom>
                <a:avLst/>
                <a:gdLst>
                  <a:gd name="T0" fmla="*/ 14 w 24"/>
                  <a:gd name="T1" fmla="*/ 80 h 82"/>
                  <a:gd name="T2" fmla="*/ 23 w 24"/>
                  <a:gd name="T3" fmla="*/ 40 h 82"/>
                  <a:gd name="T4" fmla="*/ 15 w 24"/>
                  <a:gd name="T5" fmla="*/ 0 h 82"/>
                  <a:gd name="T6" fmla="*/ 13 w 24"/>
                  <a:gd name="T7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82">
                    <a:moveTo>
                      <a:pt x="14" y="80"/>
                    </a:moveTo>
                    <a:cubicBezTo>
                      <a:pt x="18" y="67"/>
                      <a:pt x="22" y="53"/>
                      <a:pt x="23" y="40"/>
                    </a:cubicBezTo>
                    <a:cubicBezTo>
                      <a:pt x="24" y="26"/>
                      <a:pt x="22" y="12"/>
                      <a:pt x="15" y="0"/>
                    </a:cubicBezTo>
                    <a:cubicBezTo>
                      <a:pt x="1" y="26"/>
                      <a:pt x="0" y="56"/>
                      <a:pt x="13" y="8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4" name="Freeform 16">
                <a:extLst>
                  <a:ext uri="{FF2B5EF4-FFF2-40B4-BE49-F238E27FC236}">
                    <a16:creationId xmlns:a16="http://schemas.microsoft.com/office/drawing/2014/main" id="{5E3446EF-4653-D7AE-4B20-150EF9D674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1" y="2886"/>
                <a:ext cx="131" cy="91"/>
              </a:xfrm>
              <a:custGeom>
                <a:avLst/>
                <a:gdLst>
                  <a:gd name="T0" fmla="*/ 0 w 80"/>
                  <a:gd name="T1" fmla="*/ 54 h 55"/>
                  <a:gd name="T2" fmla="*/ 80 w 80"/>
                  <a:gd name="T3" fmla="*/ 0 h 55"/>
                  <a:gd name="T4" fmla="*/ 0 w 80"/>
                  <a:gd name="T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0" h="55">
                    <a:moveTo>
                      <a:pt x="0" y="54"/>
                    </a:moveTo>
                    <a:cubicBezTo>
                      <a:pt x="15" y="26"/>
                      <a:pt x="47" y="3"/>
                      <a:pt x="80" y="0"/>
                    </a:cubicBezTo>
                    <a:cubicBezTo>
                      <a:pt x="67" y="31"/>
                      <a:pt x="33" y="55"/>
                      <a:pt x="0" y="5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5" name="Freeform 17">
                <a:extLst>
                  <a:ext uri="{FF2B5EF4-FFF2-40B4-BE49-F238E27FC236}">
                    <a16:creationId xmlns:a16="http://schemas.microsoft.com/office/drawing/2014/main" id="{D6596253-D2DF-3B9F-8C9A-AE83341E8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4" y="2973"/>
                <a:ext cx="152" cy="63"/>
              </a:xfrm>
              <a:custGeom>
                <a:avLst/>
                <a:gdLst>
                  <a:gd name="T0" fmla="*/ 0 w 92"/>
                  <a:gd name="T1" fmla="*/ 7 h 38"/>
                  <a:gd name="T2" fmla="*/ 65 w 92"/>
                  <a:gd name="T3" fmla="*/ 34 h 38"/>
                  <a:gd name="T4" fmla="*/ 80 w 92"/>
                  <a:gd name="T5" fmla="*/ 37 h 38"/>
                  <a:gd name="T6" fmla="*/ 91 w 92"/>
                  <a:gd name="T7" fmla="*/ 28 h 38"/>
                  <a:gd name="T8" fmla="*/ 87 w 92"/>
                  <a:gd name="T9" fmla="*/ 17 h 38"/>
                  <a:gd name="T10" fmla="*/ 76 w 92"/>
                  <a:gd name="T11" fmla="*/ 10 h 38"/>
                  <a:gd name="T12" fmla="*/ 2 w 92"/>
                  <a:gd name="T13" fmla="*/ 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38">
                    <a:moveTo>
                      <a:pt x="0" y="7"/>
                    </a:moveTo>
                    <a:cubicBezTo>
                      <a:pt x="23" y="11"/>
                      <a:pt x="43" y="25"/>
                      <a:pt x="65" y="34"/>
                    </a:cubicBezTo>
                    <a:cubicBezTo>
                      <a:pt x="70" y="36"/>
                      <a:pt x="75" y="38"/>
                      <a:pt x="80" y="37"/>
                    </a:cubicBezTo>
                    <a:cubicBezTo>
                      <a:pt x="85" y="37"/>
                      <a:pt x="90" y="33"/>
                      <a:pt x="91" y="28"/>
                    </a:cubicBezTo>
                    <a:cubicBezTo>
                      <a:pt x="92" y="24"/>
                      <a:pt x="90" y="20"/>
                      <a:pt x="87" y="17"/>
                    </a:cubicBezTo>
                    <a:cubicBezTo>
                      <a:pt x="84" y="14"/>
                      <a:pt x="80" y="12"/>
                      <a:pt x="76" y="10"/>
                    </a:cubicBezTo>
                    <a:cubicBezTo>
                      <a:pt x="52" y="1"/>
                      <a:pt x="27" y="0"/>
                      <a:pt x="2" y="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6" name="Freeform 18">
                <a:extLst>
                  <a:ext uri="{FF2B5EF4-FFF2-40B4-BE49-F238E27FC236}">
                    <a16:creationId xmlns:a16="http://schemas.microsoft.com/office/drawing/2014/main" id="{BD1A64F9-6D2A-6487-B7B5-143C2B77F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" y="3008"/>
                <a:ext cx="110" cy="59"/>
              </a:xfrm>
              <a:custGeom>
                <a:avLst/>
                <a:gdLst>
                  <a:gd name="T0" fmla="*/ 0 w 67"/>
                  <a:gd name="T1" fmla="*/ 2 h 36"/>
                  <a:gd name="T2" fmla="*/ 12 w 67"/>
                  <a:gd name="T3" fmla="*/ 10 h 36"/>
                  <a:gd name="T4" fmla="*/ 61 w 67"/>
                  <a:gd name="T5" fmla="*/ 35 h 36"/>
                  <a:gd name="T6" fmla="*/ 66 w 67"/>
                  <a:gd name="T7" fmla="*/ 34 h 36"/>
                  <a:gd name="T8" fmla="*/ 65 w 67"/>
                  <a:gd name="T9" fmla="*/ 30 h 36"/>
                  <a:gd name="T10" fmla="*/ 35 w 67"/>
                  <a:gd name="T11" fmla="*/ 10 h 36"/>
                  <a:gd name="T12" fmla="*/ 0 w 67"/>
                  <a:gd name="T13" fmla="*/ 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36">
                    <a:moveTo>
                      <a:pt x="0" y="2"/>
                    </a:moveTo>
                    <a:cubicBezTo>
                      <a:pt x="6" y="4"/>
                      <a:pt x="8" y="7"/>
                      <a:pt x="12" y="10"/>
                    </a:cubicBezTo>
                    <a:cubicBezTo>
                      <a:pt x="26" y="22"/>
                      <a:pt x="43" y="31"/>
                      <a:pt x="61" y="35"/>
                    </a:cubicBezTo>
                    <a:cubicBezTo>
                      <a:pt x="63" y="36"/>
                      <a:pt x="65" y="36"/>
                      <a:pt x="66" y="34"/>
                    </a:cubicBezTo>
                    <a:cubicBezTo>
                      <a:pt x="67" y="33"/>
                      <a:pt x="66" y="31"/>
                      <a:pt x="65" y="30"/>
                    </a:cubicBezTo>
                    <a:cubicBezTo>
                      <a:pt x="57" y="20"/>
                      <a:pt x="47" y="14"/>
                      <a:pt x="35" y="10"/>
                    </a:cubicBezTo>
                    <a:cubicBezTo>
                      <a:pt x="24" y="5"/>
                      <a:pt x="14" y="0"/>
                      <a:pt x="0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7" name="Freeform 19">
                <a:extLst>
                  <a:ext uri="{FF2B5EF4-FFF2-40B4-BE49-F238E27FC236}">
                    <a16:creationId xmlns:a16="http://schemas.microsoft.com/office/drawing/2014/main" id="{C546576E-0E57-2A8D-8A82-4D01309E0D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" y="2838"/>
                <a:ext cx="127" cy="55"/>
              </a:xfrm>
              <a:custGeom>
                <a:avLst/>
                <a:gdLst>
                  <a:gd name="T0" fmla="*/ 0 w 77"/>
                  <a:gd name="T1" fmla="*/ 7 h 33"/>
                  <a:gd name="T2" fmla="*/ 72 w 77"/>
                  <a:gd name="T3" fmla="*/ 31 h 33"/>
                  <a:gd name="T4" fmla="*/ 75 w 77"/>
                  <a:gd name="T5" fmla="*/ 30 h 33"/>
                  <a:gd name="T6" fmla="*/ 73 w 77"/>
                  <a:gd name="T7" fmla="*/ 23 h 33"/>
                  <a:gd name="T8" fmla="*/ 0 w 77"/>
                  <a:gd name="T9" fmla="*/ 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33">
                    <a:moveTo>
                      <a:pt x="0" y="7"/>
                    </a:moveTo>
                    <a:cubicBezTo>
                      <a:pt x="19" y="24"/>
                      <a:pt x="46" y="33"/>
                      <a:pt x="72" y="31"/>
                    </a:cubicBezTo>
                    <a:cubicBezTo>
                      <a:pt x="73" y="31"/>
                      <a:pt x="74" y="31"/>
                      <a:pt x="75" y="30"/>
                    </a:cubicBezTo>
                    <a:cubicBezTo>
                      <a:pt x="77" y="28"/>
                      <a:pt x="75" y="25"/>
                      <a:pt x="73" y="23"/>
                    </a:cubicBezTo>
                    <a:cubicBezTo>
                      <a:pt x="52" y="7"/>
                      <a:pt x="26" y="0"/>
                      <a:pt x="0" y="7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8" name="Freeform 20">
                <a:extLst>
                  <a:ext uri="{FF2B5EF4-FFF2-40B4-BE49-F238E27FC236}">
                    <a16:creationId xmlns:a16="http://schemas.microsoft.com/office/drawing/2014/main" id="{858903A0-CF0F-D0B2-773F-C235CE4AB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6" y="2797"/>
                <a:ext cx="148" cy="51"/>
              </a:xfrm>
              <a:custGeom>
                <a:avLst/>
                <a:gdLst>
                  <a:gd name="T0" fmla="*/ 0 w 90"/>
                  <a:gd name="T1" fmla="*/ 25 h 31"/>
                  <a:gd name="T2" fmla="*/ 90 w 90"/>
                  <a:gd name="T3" fmla="*/ 10 h 31"/>
                  <a:gd name="T4" fmla="*/ 47 w 90"/>
                  <a:gd name="T5" fmla="*/ 29 h 31"/>
                  <a:gd name="T6" fmla="*/ 0 w 90"/>
                  <a:gd name="T7" fmla="*/ 2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31">
                    <a:moveTo>
                      <a:pt x="0" y="25"/>
                    </a:moveTo>
                    <a:cubicBezTo>
                      <a:pt x="25" y="6"/>
                      <a:pt x="60" y="0"/>
                      <a:pt x="90" y="10"/>
                    </a:cubicBezTo>
                    <a:cubicBezTo>
                      <a:pt x="78" y="21"/>
                      <a:pt x="63" y="27"/>
                      <a:pt x="47" y="29"/>
                    </a:cubicBezTo>
                    <a:cubicBezTo>
                      <a:pt x="31" y="31"/>
                      <a:pt x="16" y="29"/>
                      <a:pt x="0" y="2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9" name="Freeform 21">
                <a:extLst>
                  <a:ext uri="{FF2B5EF4-FFF2-40B4-BE49-F238E27FC236}">
                    <a16:creationId xmlns:a16="http://schemas.microsoft.com/office/drawing/2014/main" id="{525692C5-1DE3-E39E-8D27-DD680448B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0" y="2659"/>
                <a:ext cx="24" cy="105"/>
              </a:xfrm>
              <a:custGeom>
                <a:avLst/>
                <a:gdLst>
                  <a:gd name="T0" fmla="*/ 15 w 15"/>
                  <a:gd name="T1" fmla="*/ 64 h 64"/>
                  <a:gd name="T2" fmla="*/ 13 w 15"/>
                  <a:gd name="T3" fmla="*/ 5 h 64"/>
                  <a:gd name="T4" fmla="*/ 11 w 15"/>
                  <a:gd name="T5" fmla="*/ 1 h 64"/>
                  <a:gd name="T6" fmla="*/ 6 w 15"/>
                  <a:gd name="T7" fmla="*/ 5 h 64"/>
                  <a:gd name="T8" fmla="*/ 15 w 15"/>
                  <a:gd name="T9" fmla="*/ 6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4">
                    <a:moveTo>
                      <a:pt x="15" y="64"/>
                    </a:moveTo>
                    <a:cubicBezTo>
                      <a:pt x="13" y="43"/>
                      <a:pt x="14" y="26"/>
                      <a:pt x="13" y="5"/>
                    </a:cubicBezTo>
                    <a:cubicBezTo>
                      <a:pt x="13" y="3"/>
                      <a:pt x="12" y="1"/>
                      <a:pt x="11" y="1"/>
                    </a:cubicBezTo>
                    <a:cubicBezTo>
                      <a:pt x="9" y="0"/>
                      <a:pt x="7" y="2"/>
                      <a:pt x="6" y="5"/>
                    </a:cubicBezTo>
                    <a:cubicBezTo>
                      <a:pt x="0" y="24"/>
                      <a:pt x="3" y="46"/>
                      <a:pt x="15" y="6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0" name="Freeform 22">
                <a:extLst>
                  <a:ext uri="{FF2B5EF4-FFF2-40B4-BE49-F238E27FC236}">
                    <a16:creationId xmlns:a16="http://schemas.microsoft.com/office/drawing/2014/main" id="{066773B5-8F59-15FB-CBF4-08F1BE212B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3" y="2659"/>
                <a:ext cx="77" cy="109"/>
              </a:xfrm>
              <a:custGeom>
                <a:avLst/>
                <a:gdLst>
                  <a:gd name="T0" fmla="*/ 0 w 47"/>
                  <a:gd name="T1" fmla="*/ 66 h 66"/>
                  <a:gd name="T2" fmla="*/ 34 w 47"/>
                  <a:gd name="T3" fmla="*/ 32 h 66"/>
                  <a:gd name="T4" fmla="*/ 45 w 47"/>
                  <a:gd name="T5" fmla="*/ 0 h 66"/>
                  <a:gd name="T6" fmla="*/ 20 w 47"/>
                  <a:gd name="T7" fmla="*/ 12 h 66"/>
                  <a:gd name="T8" fmla="*/ 8 w 47"/>
                  <a:gd name="T9" fmla="*/ 38 h 66"/>
                  <a:gd name="T10" fmla="*/ 0 w 47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66">
                    <a:moveTo>
                      <a:pt x="0" y="66"/>
                    </a:moveTo>
                    <a:cubicBezTo>
                      <a:pt x="14" y="57"/>
                      <a:pt x="25" y="46"/>
                      <a:pt x="34" y="32"/>
                    </a:cubicBezTo>
                    <a:cubicBezTo>
                      <a:pt x="41" y="23"/>
                      <a:pt x="47" y="11"/>
                      <a:pt x="45" y="0"/>
                    </a:cubicBezTo>
                    <a:cubicBezTo>
                      <a:pt x="36" y="0"/>
                      <a:pt x="27" y="5"/>
                      <a:pt x="20" y="12"/>
                    </a:cubicBezTo>
                    <a:cubicBezTo>
                      <a:pt x="14" y="20"/>
                      <a:pt x="10" y="29"/>
                      <a:pt x="8" y="38"/>
                    </a:cubicBezTo>
                    <a:cubicBezTo>
                      <a:pt x="5" y="47"/>
                      <a:pt x="3" y="57"/>
                      <a:pt x="0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1" name="Freeform 23">
                <a:extLst>
                  <a:ext uri="{FF2B5EF4-FFF2-40B4-BE49-F238E27FC236}">
                    <a16:creationId xmlns:a16="http://schemas.microsoft.com/office/drawing/2014/main" id="{AD3F7A51-002C-C516-DB70-1456CC07D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7" y="2662"/>
                <a:ext cx="142" cy="89"/>
              </a:xfrm>
              <a:custGeom>
                <a:avLst/>
                <a:gdLst>
                  <a:gd name="T0" fmla="*/ 1 w 86"/>
                  <a:gd name="T1" fmla="*/ 54 h 54"/>
                  <a:gd name="T2" fmla="*/ 86 w 86"/>
                  <a:gd name="T3" fmla="*/ 4 h 54"/>
                  <a:gd name="T4" fmla="*/ 54 w 86"/>
                  <a:gd name="T5" fmla="*/ 6 h 54"/>
                  <a:gd name="T6" fmla="*/ 0 w 86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6" h="54">
                    <a:moveTo>
                      <a:pt x="1" y="54"/>
                    </a:moveTo>
                    <a:cubicBezTo>
                      <a:pt x="32" y="43"/>
                      <a:pt x="61" y="26"/>
                      <a:pt x="86" y="4"/>
                    </a:cubicBezTo>
                    <a:cubicBezTo>
                      <a:pt x="76" y="0"/>
                      <a:pt x="64" y="2"/>
                      <a:pt x="54" y="6"/>
                    </a:cubicBezTo>
                    <a:cubicBezTo>
                      <a:pt x="31" y="16"/>
                      <a:pt x="12" y="32"/>
                      <a:pt x="0" y="5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2" name="Freeform 24">
                <a:extLst>
                  <a:ext uri="{FF2B5EF4-FFF2-40B4-BE49-F238E27FC236}">
                    <a16:creationId xmlns:a16="http://schemas.microsoft.com/office/drawing/2014/main" id="{A25176E5-1CB7-DBB6-042C-16F5E9A71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8" y="2743"/>
                <a:ext cx="158" cy="48"/>
              </a:xfrm>
              <a:custGeom>
                <a:avLst/>
                <a:gdLst>
                  <a:gd name="T0" fmla="*/ 0 w 96"/>
                  <a:gd name="T1" fmla="*/ 26 h 29"/>
                  <a:gd name="T2" fmla="*/ 48 w 96"/>
                  <a:gd name="T3" fmla="*/ 27 h 29"/>
                  <a:gd name="T4" fmla="*/ 92 w 96"/>
                  <a:gd name="T5" fmla="*/ 12 h 29"/>
                  <a:gd name="T6" fmla="*/ 95 w 96"/>
                  <a:gd name="T7" fmla="*/ 10 h 29"/>
                  <a:gd name="T8" fmla="*/ 94 w 96"/>
                  <a:gd name="T9" fmla="*/ 6 h 29"/>
                  <a:gd name="T10" fmla="*/ 90 w 96"/>
                  <a:gd name="T11" fmla="*/ 4 h 29"/>
                  <a:gd name="T12" fmla="*/ 42 w 96"/>
                  <a:gd name="T13" fmla="*/ 7 h 29"/>
                  <a:gd name="T14" fmla="*/ 0 w 96"/>
                  <a:gd name="T15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29">
                    <a:moveTo>
                      <a:pt x="0" y="26"/>
                    </a:moveTo>
                    <a:cubicBezTo>
                      <a:pt x="16" y="28"/>
                      <a:pt x="32" y="29"/>
                      <a:pt x="48" y="27"/>
                    </a:cubicBezTo>
                    <a:cubicBezTo>
                      <a:pt x="63" y="24"/>
                      <a:pt x="78" y="18"/>
                      <a:pt x="92" y="12"/>
                    </a:cubicBezTo>
                    <a:cubicBezTo>
                      <a:pt x="93" y="11"/>
                      <a:pt x="95" y="11"/>
                      <a:pt x="95" y="10"/>
                    </a:cubicBezTo>
                    <a:cubicBezTo>
                      <a:pt x="96" y="8"/>
                      <a:pt x="95" y="7"/>
                      <a:pt x="94" y="6"/>
                    </a:cubicBezTo>
                    <a:cubicBezTo>
                      <a:pt x="93" y="5"/>
                      <a:pt x="92" y="4"/>
                      <a:pt x="90" y="4"/>
                    </a:cubicBezTo>
                    <a:cubicBezTo>
                      <a:pt x="75" y="0"/>
                      <a:pt x="58" y="2"/>
                      <a:pt x="42" y="7"/>
                    </a:cubicBezTo>
                    <a:cubicBezTo>
                      <a:pt x="27" y="12"/>
                      <a:pt x="14" y="18"/>
                      <a:pt x="0" y="2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3" name="Freeform 25">
                <a:extLst>
                  <a:ext uri="{FF2B5EF4-FFF2-40B4-BE49-F238E27FC236}">
                    <a16:creationId xmlns:a16="http://schemas.microsoft.com/office/drawing/2014/main" id="{84B781B6-2C7C-E145-1B60-C1BF01B68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" y="2736"/>
                <a:ext cx="30" cy="116"/>
              </a:xfrm>
              <a:custGeom>
                <a:avLst/>
                <a:gdLst>
                  <a:gd name="T0" fmla="*/ 11 w 18"/>
                  <a:gd name="T1" fmla="*/ 69 h 70"/>
                  <a:gd name="T2" fmla="*/ 10 w 18"/>
                  <a:gd name="T3" fmla="*/ 0 h 70"/>
                  <a:gd name="T4" fmla="*/ 16 w 18"/>
                  <a:gd name="T5" fmla="*/ 34 h 70"/>
                  <a:gd name="T6" fmla="*/ 11 w 18"/>
                  <a:gd name="T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0">
                    <a:moveTo>
                      <a:pt x="11" y="69"/>
                    </a:moveTo>
                    <a:cubicBezTo>
                      <a:pt x="0" y="48"/>
                      <a:pt x="1" y="22"/>
                      <a:pt x="10" y="0"/>
                    </a:cubicBezTo>
                    <a:cubicBezTo>
                      <a:pt x="17" y="10"/>
                      <a:pt x="18" y="22"/>
                      <a:pt x="16" y="34"/>
                    </a:cubicBezTo>
                    <a:cubicBezTo>
                      <a:pt x="15" y="46"/>
                      <a:pt x="12" y="58"/>
                      <a:pt x="11" y="7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4" name="Freeform 26">
                <a:extLst>
                  <a:ext uri="{FF2B5EF4-FFF2-40B4-BE49-F238E27FC236}">
                    <a16:creationId xmlns:a16="http://schemas.microsoft.com/office/drawing/2014/main" id="{CFD2A608-14FD-4AF4-9FBE-246450FA5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" y="2814"/>
                <a:ext cx="120" cy="54"/>
              </a:xfrm>
              <a:custGeom>
                <a:avLst/>
                <a:gdLst>
                  <a:gd name="T0" fmla="*/ 72 w 73"/>
                  <a:gd name="T1" fmla="*/ 1 h 33"/>
                  <a:gd name="T2" fmla="*/ 0 w 73"/>
                  <a:gd name="T3" fmla="*/ 31 h 33"/>
                  <a:gd name="T4" fmla="*/ 39 w 73"/>
                  <a:gd name="T5" fmla="*/ 24 h 33"/>
                  <a:gd name="T6" fmla="*/ 73 w 73"/>
                  <a:gd name="T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" h="33">
                    <a:moveTo>
                      <a:pt x="72" y="1"/>
                    </a:moveTo>
                    <a:cubicBezTo>
                      <a:pt x="45" y="0"/>
                      <a:pt x="18" y="12"/>
                      <a:pt x="0" y="31"/>
                    </a:cubicBezTo>
                    <a:cubicBezTo>
                      <a:pt x="13" y="33"/>
                      <a:pt x="27" y="30"/>
                      <a:pt x="39" y="24"/>
                    </a:cubicBezTo>
                    <a:cubicBezTo>
                      <a:pt x="52" y="18"/>
                      <a:pt x="62" y="10"/>
                      <a:pt x="73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5" name="Freeform 27">
                <a:extLst>
                  <a:ext uri="{FF2B5EF4-FFF2-40B4-BE49-F238E27FC236}">
                    <a16:creationId xmlns:a16="http://schemas.microsoft.com/office/drawing/2014/main" id="{63484374-1876-C41F-82A9-491424BF52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" y="2794"/>
                <a:ext cx="112" cy="49"/>
              </a:xfrm>
              <a:custGeom>
                <a:avLst/>
                <a:gdLst>
                  <a:gd name="T0" fmla="*/ 68 w 68"/>
                  <a:gd name="T1" fmla="*/ 3 h 30"/>
                  <a:gd name="T2" fmla="*/ 30 w 68"/>
                  <a:gd name="T3" fmla="*/ 4 h 30"/>
                  <a:gd name="T4" fmla="*/ 0 w 68"/>
                  <a:gd name="T5" fmla="*/ 29 h 30"/>
                  <a:gd name="T6" fmla="*/ 36 w 68"/>
                  <a:gd name="T7" fmla="*/ 22 h 30"/>
                  <a:gd name="T8" fmla="*/ 68 w 68"/>
                  <a:gd name="T9" fmla="*/ 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30">
                    <a:moveTo>
                      <a:pt x="68" y="3"/>
                    </a:moveTo>
                    <a:cubicBezTo>
                      <a:pt x="55" y="2"/>
                      <a:pt x="42" y="0"/>
                      <a:pt x="30" y="4"/>
                    </a:cubicBezTo>
                    <a:cubicBezTo>
                      <a:pt x="17" y="8"/>
                      <a:pt x="5" y="17"/>
                      <a:pt x="0" y="29"/>
                    </a:cubicBezTo>
                    <a:cubicBezTo>
                      <a:pt x="13" y="30"/>
                      <a:pt x="25" y="27"/>
                      <a:pt x="36" y="22"/>
                    </a:cubicBezTo>
                    <a:cubicBezTo>
                      <a:pt x="48" y="17"/>
                      <a:pt x="58" y="10"/>
                      <a:pt x="68" y="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6" name="Freeform 28">
                <a:extLst>
                  <a:ext uri="{FF2B5EF4-FFF2-40B4-BE49-F238E27FC236}">
                    <a16:creationId xmlns:a16="http://schemas.microsoft.com/office/drawing/2014/main" id="{A4767F42-C541-CAB6-FD9C-681B87286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5" y="2763"/>
                <a:ext cx="128" cy="39"/>
              </a:xfrm>
              <a:custGeom>
                <a:avLst/>
                <a:gdLst>
                  <a:gd name="T0" fmla="*/ 77 w 78"/>
                  <a:gd name="T1" fmla="*/ 22 h 24"/>
                  <a:gd name="T2" fmla="*/ 39 w 78"/>
                  <a:gd name="T3" fmla="*/ 3 h 24"/>
                  <a:gd name="T4" fmla="*/ 0 w 78"/>
                  <a:gd name="T5" fmla="*/ 13 h 24"/>
                  <a:gd name="T6" fmla="*/ 37 w 78"/>
                  <a:gd name="T7" fmla="*/ 20 h 24"/>
                  <a:gd name="T8" fmla="*/ 78 w 78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24">
                    <a:moveTo>
                      <a:pt x="77" y="22"/>
                    </a:moveTo>
                    <a:cubicBezTo>
                      <a:pt x="65" y="15"/>
                      <a:pt x="53" y="7"/>
                      <a:pt x="39" y="3"/>
                    </a:cubicBezTo>
                    <a:cubicBezTo>
                      <a:pt x="25" y="0"/>
                      <a:pt x="9" y="3"/>
                      <a:pt x="0" y="13"/>
                    </a:cubicBezTo>
                    <a:cubicBezTo>
                      <a:pt x="11" y="20"/>
                      <a:pt x="24" y="20"/>
                      <a:pt x="37" y="20"/>
                    </a:cubicBezTo>
                    <a:cubicBezTo>
                      <a:pt x="50" y="20"/>
                      <a:pt x="66" y="20"/>
                      <a:pt x="78" y="2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7" name="Freeform 29">
                <a:extLst>
                  <a:ext uri="{FF2B5EF4-FFF2-40B4-BE49-F238E27FC236}">
                    <a16:creationId xmlns:a16="http://schemas.microsoft.com/office/drawing/2014/main" id="{C20E3E2E-A108-EBB8-27A9-E4CC04EB22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" y="2664"/>
                <a:ext cx="51" cy="136"/>
              </a:xfrm>
              <a:custGeom>
                <a:avLst/>
                <a:gdLst>
                  <a:gd name="T0" fmla="*/ 28 w 31"/>
                  <a:gd name="T1" fmla="*/ 83 h 83"/>
                  <a:gd name="T2" fmla="*/ 8 w 31"/>
                  <a:gd name="T3" fmla="*/ 0 h 83"/>
                  <a:gd name="T4" fmla="*/ 28 w 31"/>
                  <a:gd name="T5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83">
                    <a:moveTo>
                      <a:pt x="28" y="83"/>
                    </a:moveTo>
                    <a:cubicBezTo>
                      <a:pt x="8" y="63"/>
                      <a:pt x="0" y="27"/>
                      <a:pt x="8" y="0"/>
                    </a:cubicBezTo>
                    <a:cubicBezTo>
                      <a:pt x="24" y="24"/>
                      <a:pt x="31" y="54"/>
                      <a:pt x="28" y="8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8" name="Freeform 30">
                <a:extLst>
                  <a:ext uri="{FF2B5EF4-FFF2-40B4-BE49-F238E27FC236}">
                    <a16:creationId xmlns:a16="http://schemas.microsoft.com/office/drawing/2014/main" id="{3948B4D1-64B2-2F0F-55A9-CC30549F1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4" y="2600"/>
                <a:ext cx="81" cy="108"/>
              </a:xfrm>
              <a:custGeom>
                <a:avLst/>
                <a:gdLst>
                  <a:gd name="T0" fmla="*/ 0 w 49"/>
                  <a:gd name="T1" fmla="*/ 66 h 66"/>
                  <a:gd name="T2" fmla="*/ 10 w 49"/>
                  <a:gd name="T3" fmla="*/ 38 h 66"/>
                  <a:gd name="T4" fmla="*/ 24 w 49"/>
                  <a:gd name="T5" fmla="*/ 13 h 66"/>
                  <a:gd name="T6" fmla="*/ 49 w 49"/>
                  <a:gd name="T7" fmla="*/ 0 h 66"/>
                  <a:gd name="T8" fmla="*/ 0 w 49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6">
                    <a:moveTo>
                      <a:pt x="0" y="66"/>
                    </a:moveTo>
                    <a:cubicBezTo>
                      <a:pt x="3" y="57"/>
                      <a:pt x="6" y="47"/>
                      <a:pt x="10" y="38"/>
                    </a:cubicBezTo>
                    <a:cubicBezTo>
                      <a:pt x="13" y="29"/>
                      <a:pt x="17" y="21"/>
                      <a:pt x="24" y="13"/>
                    </a:cubicBezTo>
                    <a:cubicBezTo>
                      <a:pt x="30" y="6"/>
                      <a:pt x="39" y="1"/>
                      <a:pt x="49" y="0"/>
                    </a:cubicBezTo>
                    <a:cubicBezTo>
                      <a:pt x="43" y="28"/>
                      <a:pt x="25" y="52"/>
                      <a:pt x="0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9" name="Freeform 31">
                <a:extLst>
                  <a:ext uri="{FF2B5EF4-FFF2-40B4-BE49-F238E27FC236}">
                    <a16:creationId xmlns:a16="http://schemas.microsoft.com/office/drawing/2014/main" id="{E0685BC2-CF46-FA36-70A8-64E65CBED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0" y="2665"/>
                <a:ext cx="87" cy="61"/>
              </a:xfrm>
              <a:custGeom>
                <a:avLst/>
                <a:gdLst>
                  <a:gd name="T0" fmla="*/ 53 w 53"/>
                  <a:gd name="T1" fmla="*/ 37 h 37"/>
                  <a:gd name="T2" fmla="*/ 30 w 53"/>
                  <a:gd name="T3" fmla="*/ 10 h 37"/>
                  <a:gd name="T4" fmla="*/ 0 w 53"/>
                  <a:gd name="T5" fmla="*/ 2 h 37"/>
                  <a:gd name="T6" fmla="*/ 53 w 53"/>
                  <a:gd name="T7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37">
                    <a:moveTo>
                      <a:pt x="53" y="37"/>
                    </a:moveTo>
                    <a:cubicBezTo>
                      <a:pt x="46" y="29"/>
                      <a:pt x="39" y="17"/>
                      <a:pt x="30" y="10"/>
                    </a:cubicBezTo>
                    <a:cubicBezTo>
                      <a:pt x="22" y="4"/>
                      <a:pt x="11" y="0"/>
                      <a:pt x="0" y="2"/>
                    </a:cubicBezTo>
                    <a:cubicBezTo>
                      <a:pt x="11" y="21"/>
                      <a:pt x="31" y="35"/>
                      <a:pt x="53" y="37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0" name="Freeform 32">
                <a:extLst>
                  <a:ext uri="{FF2B5EF4-FFF2-40B4-BE49-F238E27FC236}">
                    <a16:creationId xmlns:a16="http://schemas.microsoft.com/office/drawing/2014/main" id="{EAEBE1D9-C262-CE9C-D5D6-D44024A35A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" y="2601"/>
                <a:ext cx="35" cy="109"/>
              </a:xfrm>
              <a:custGeom>
                <a:avLst/>
                <a:gdLst>
                  <a:gd name="T0" fmla="*/ 12 w 21"/>
                  <a:gd name="T1" fmla="*/ 65 h 66"/>
                  <a:gd name="T2" fmla="*/ 2 w 21"/>
                  <a:gd name="T3" fmla="*/ 33 h 66"/>
                  <a:gd name="T4" fmla="*/ 7 w 21"/>
                  <a:gd name="T5" fmla="*/ 0 h 66"/>
                  <a:gd name="T6" fmla="*/ 12 w 21"/>
                  <a:gd name="T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66">
                    <a:moveTo>
                      <a:pt x="12" y="65"/>
                    </a:moveTo>
                    <a:cubicBezTo>
                      <a:pt x="7" y="55"/>
                      <a:pt x="3" y="44"/>
                      <a:pt x="2" y="33"/>
                    </a:cubicBezTo>
                    <a:cubicBezTo>
                      <a:pt x="0" y="22"/>
                      <a:pt x="1" y="10"/>
                      <a:pt x="7" y="0"/>
                    </a:cubicBezTo>
                    <a:cubicBezTo>
                      <a:pt x="18" y="21"/>
                      <a:pt x="21" y="44"/>
                      <a:pt x="12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1" name="Freeform 33">
                <a:extLst>
                  <a:ext uri="{FF2B5EF4-FFF2-40B4-BE49-F238E27FC236}">
                    <a16:creationId xmlns:a16="http://schemas.microsoft.com/office/drawing/2014/main" id="{1D99BEA4-26F6-0A5B-BCEA-5A6C033D8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4" y="2527"/>
                <a:ext cx="99" cy="74"/>
              </a:xfrm>
              <a:custGeom>
                <a:avLst/>
                <a:gdLst>
                  <a:gd name="T0" fmla="*/ 0 w 60"/>
                  <a:gd name="T1" fmla="*/ 45 h 45"/>
                  <a:gd name="T2" fmla="*/ 46 w 60"/>
                  <a:gd name="T3" fmla="*/ 2 h 45"/>
                  <a:gd name="T4" fmla="*/ 54 w 60"/>
                  <a:gd name="T5" fmla="*/ 1 h 45"/>
                  <a:gd name="T6" fmla="*/ 60 w 60"/>
                  <a:gd name="T7" fmla="*/ 6 h 45"/>
                  <a:gd name="T8" fmla="*/ 55 w 60"/>
                  <a:gd name="T9" fmla="*/ 15 h 45"/>
                  <a:gd name="T10" fmla="*/ 0 w 60"/>
                  <a:gd name="T1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45">
                    <a:moveTo>
                      <a:pt x="0" y="45"/>
                    </a:moveTo>
                    <a:cubicBezTo>
                      <a:pt x="6" y="24"/>
                      <a:pt x="25" y="9"/>
                      <a:pt x="46" y="2"/>
                    </a:cubicBezTo>
                    <a:cubicBezTo>
                      <a:pt x="48" y="1"/>
                      <a:pt x="51" y="0"/>
                      <a:pt x="54" y="1"/>
                    </a:cubicBezTo>
                    <a:cubicBezTo>
                      <a:pt x="56" y="1"/>
                      <a:pt x="59" y="3"/>
                      <a:pt x="60" y="6"/>
                    </a:cubicBezTo>
                    <a:cubicBezTo>
                      <a:pt x="60" y="9"/>
                      <a:pt x="57" y="12"/>
                      <a:pt x="55" y="15"/>
                    </a:cubicBezTo>
                    <a:cubicBezTo>
                      <a:pt x="39" y="29"/>
                      <a:pt x="20" y="39"/>
                      <a:pt x="0" y="4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2" name="Freeform 34">
                <a:extLst>
                  <a:ext uri="{FF2B5EF4-FFF2-40B4-BE49-F238E27FC236}">
                    <a16:creationId xmlns:a16="http://schemas.microsoft.com/office/drawing/2014/main" id="{21639DBB-4B88-8BF2-959D-4A19E7060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4" y="2458"/>
                <a:ext cx="54" cy="123"/>
              </a:xfrm>
              <a:custGeom>
                <a:avLst/>
                <a:gdLst>
                  <a:gd name="T0" fmla="*/ 0 w 33"/>
                  <a:gd name="T1" fmla="*/ 70 h 75"/>
                  <a:gd name="T2" fmla="*/ 6 w 33"/>
                  <a:gd name="T3" fmla="*/ 30 h 75"/>
                  <a:gd name="T4" fmla="*/ 31 w 33"/>
                  <a:gd name="T5" fmla="*/ 0 h 75"/>
                  <a:gd name="T6" fmla="*/ 20 w 33"/>
                  <a:gd name="T7" fmla="*/ 39 h 75"/>
                  <a:gd name="T8" fmla="*/ 0 w 33"/>
                  <a:gd name="T9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75">
                    <a:moveTo>
                      <a:pt x="0" y="70"/>
                    </a:moveTo>
                    <a:cubicBezTo>
                      <a:pt x="1" y="57"/>
                      <a:pt x="2" y="43"/>
                      <a:pt x="6" y="30"/>
                    </a:cubicBezTo>
                    <a:cubicBezTo>
                      <a:pt x="10" y="18"/>
                      <a:pt x="19" y="6"/>
                      <a:pt x="31" y="0"/>
                    </a:cubicBezTo>
                    <a:cubicBezTo>
                      <a:pt x="33" y="14"/>
                      <a:pt x="27" y="27"/>
                      <a:pt x="20" y="39"/>
                    </a:cubicBezTo>
                    <a:cubicBezTo>
                      <a:pt x="13" y="51"/>
                      <a:pt x="4" y="62"/>
                      <a:pt x="0" y="7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3" name="Freeform 35">
                <a:extLst>
                  <a:ext uri="{FF2B5EF4-FFF2-40B4-BE49-F238E27FC236}">
                    <a16:creationId xmlns:a16="http://schemas.microsoft.com/office/drawing/2014/main" id="{CA38A264-741F-29E7-2997-3583CBBEB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" y="2468"/>
                <a:ext cx="68" cy="120"/>
              </a:xfrm>
              <a:custGeom>
                <a:avLst/>
                <a:gdLst>
                  <a:gd name="T0" fmla="*/ 41 w 41"/>
                  <a:gd name="T1" fmla="*/ 73 h 73"/>
                  <a:gd name="T2" fmla="*/ 26 w 41"/>
                  <a:gd name="T3" fmla="*/ 26 h 73"/>
                  <a:gd name="T4" fmla="*/ 4 w 41"/>
                  <a:gd name="T5" fmla="*/ 0 h 73"/>
                  <a:gd name="T6" fmla="*/ 5 w 41"/>
                  <a:gd name="T7" fmla="*/ 29 h 73"/>
                  <a:gd name="T8" fmla="*/ 22 w 41"/>
                  <a:gd name="T9" fmla="*/ 53 h 73"/>
                  <a:gd name="T10" fmla="*/ 41 w 41"/>
                  <a:gd name="T11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73">
                    <a:moveTo>
                      <a:pt x="41" y="73"/>
                    </a:moveTo>
                    <a:cubicBezTo>
                      <a:pt x="35" y="58"/>
                      <a:pt x="35" y="39"/>
                      <a:pt x="26" y="26"/>
                    </a:cubicBezTo>
                    <a:cubicBezTo>
                      <a:pt x="19" y="16"/>
                      <a:pt x="9" y="10"/>
                      <a:pt x="4" y="0"/>
                    </a:cubicBezTo>
                    <a:cubicBezTo>
                      <a:pt x="0" y="10"/>
                      <a:pt x="1" y="20"/>
                      <a:pt x="5" y="29"/>
                    </a:cubicBezTo>
                    <a:cubicBezTo>
                      <a:pt x="9" y="38"/>
                      <a:pt x="15" y="46"/>
                      <a:pt x="22" y="53"/>
                    </a:cubicBezTo>
                    <a:cubicBezTo>
                      <a:pt x="29" y="60"/>
                      <a:pt x="34" y="66"/>
                      <a:pt x="41" y="7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4" name="Oval 36">
                <a:extLst>
                  <a:ext uri="{FF2B5EF4-FFF2-40B4-BE49-F238E27FC236}">
                    <a16:creationId xmlns:a16="http://schemas.microsoft.com/office/drawing/2014/main" id="{002F0D6C-7793-EB82-3565-9B858D15D0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2" y="2580"/>
                <a:ext cx="2" cy="74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5" name="Freeform 37">
                <a:extLst>
                  <a:ext uri="{FF2B5EF4-FFF2-40B4-BE49-F238E27FC236}">
                    <a16:creationId xmlns:a16="http://schemas.microsoft.com/office/drawing/2014/main" id="{1F01FA0F-019B-D1E3-D2C2-ADBF02367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4" y="2825"/>
                <a:ext cx="145" cy="76"/>
              </a:xfrm>
              <a:custGeom>
                <a:avLst/>
                <a:gdLst>
                  <a:gd name="T0" fmla="*/ 88 w 88"/>
                  <a:gd name="T1" fmla="*/ 0 h 46"/>
                  <a:gd name="T2" fmla="*/ 84 w 88"/>
                  <a:gd name="T3" fmla="*/ 1 h 46"/>
                  <a:gd name="T4" fmla="*/ 74 w 88"/>
                  <a:gd name="T5" fmla="*/ 5 h 46"/>
                  <a:gd name="T6" fmla="*/ 40 w 88"/>
                  <a:gd name="T7" fmla="*/ 18 h 46"/>
                  <a:gd name="T8" fmla="*/ 7 w 88"/>
                  <a:gd name="T9" fmla="*/ 34 h 46"/>
                  <a:gd name="T10" fmla="*/ 1 w 88"/>
                  <a:gd name="T11" fmla="*/ 43 h 46"/>
                  <a:gd name="T12" fmla="*/ 0 w 88"/>
                  <a:gd name="T13" fmla="*/ 46 h 46"/>
                  <a:gd name="T14" fmla="*/ 0 w 88"/>
                  <a:gd name="T15" fmla="*/ 45 h 46"/>
                  <a:gd name="T16" fmla="*/ 0 w 88"/>
                  <a:gd name="T17" fmla="*/ 42 h 46"/>
                  <a:gd name="T18" fmla="*/ 7 w 88"/>
                  <a:gd name="T19" fmla="*/ 33 h 46"/>
                  <a:gd name="T20" fmla="*/ 21 w 88"/>
                  <a:gd name="T21" fmla="*/ 24 h 46"/>
                  <a:gd name="T22" fmla="*/ 39 w 88"/>
                  <a:gd name="T23" fmla="*/ 16 h 46"/>
                  <a:gd name="T24" fmla="*/ 74 w 88"/>
                  <a:gd name="T25" fmla="*/ 4 h 46"/>
                  <a:gd name="T26" fmla="*/ 84 w 88"/>
                  <a:gd name="T27" fmla="*/ 1 h 46"/>
                  <a:gd name="T28" fmla="*/ 88 w 88"/>
                  <a:gd name="T2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8" h="46">
                    <a:moveTo>
                      <a:pt x="88" y="0"/>
                    </a:moveTo>
                    <a:cubicBezTo>
                      <a:pt x="88" y="0"/>
                      <a:pt x="87" y="1"/>
                      <a:pt x="84" y="1"/>
                    </a:cubicBezTo>
                    <a:cubicBezTo>
                      <a:pt x="82" y="2"/>
                      <a:pt x="78" y="4"/>
                      <a:pt x="74" y="5"/>
                    </a:cubicBezTo>
                    <a:cubicBezTo>
                      <a:pt x="65" y="8"/>
                      <a:pt x="53" y="12"/>
                      <a:pt x="40" y="18"/>
                    </a:cubicBezTo>
                    <a:cubicBezTo>
                      <a:pt x="27" y="23"/>
                      <a:pt x="14" y="28"/>
                      <a:pt x="7" y="34"/>
                    </a:cubicBezTo>
                    <a:cubicBezTo>
                      <a:pt x="4" y="37"/>
                      <a:pt x="2" y="40"/>
                      <a:pt x="1" y="43"/>
                    </a:cubicBezTo>
                    <a:cubicBezTo>
                      <a:pt x="0" y="45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5"/>
                    </a:cubicBezTo>
                    <a:cubicBezTo>
                      <a:pt x="0" y="45"/>
                      <a:pt x="0" y="44"/>
                      <a:pt x="0" y="42"/>
                    </a:cubicBezTo>
                    <a:cubicBezTo>
                      <a:pt x="1" y="40"/>
                      <a:pt x="3" y="36"/>
                      <a:pt x="7" y="33"/>
                    </a:cubicBezTo>
                    <a:cubicBezTo>
                      <a:pt x="10" y="30"/>
                      <a:pt x="15" y="27"/>
                      <a:pt x="21" y="24"/>
                    </a:cubicBezTo>
                    <a:cubicBezTo>
                      <a:pt x="26" y="22"/>
                      <a:pt x="33" y="19"/>
                      <a:pt x="39" y="16"/>
                    </a:cubicBezTo>
                    <a:cubicBezTo>
                      <a:pt x="52" y="11"/>
                      <a:pt x="65" y="7"/>
                      <a:pt x="74" y="4"/>
                    </a:cubicBezTo>
                    <a:cubicBezTo>
                      <a:pt x="78" y="3"/>
                      <a:pt x="82" y="2"/>
                      <a:pt x="84" y="1"/>
                    </a:cubicBezTo>
                    <a:cubicBezTo>
                      <a:pt x="87" y="0"/>
                      <a:pt x="88" y="0"/>
                      <a:pt x="8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6" name="Freeform 38">
                <a:extLst>
                  <a:ext uri="{FF2B5EF4-FFF2-40B4-BE49-F238E27FC236}">
                    <a16:creationId xmlns:a16="http://schemas.microsoft.com/office/drawing/2014/main" id="{3C791360-0DBA-0263-447B-D15500E2F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2708"/>
                <a:ext cx="182" cy="173"/>
              </a:xfrm>
              <a:custGeom>
                <a:avLst/>
                <a:gdLst>
                  <a:gd name="T0" fmla="*/ 110 w 110"/>
                  <a:gd name="T1" fmla="*/ 0 h 105"/>
                  <a:gd name="T2" fmla="*/ 109 w 110"/>
                  <a:gd name="T3" fmla="*/ 1 h 105"/>
                  <a:gd name="T4" fmla="*/ 106 w 110"/>
                  <a:gd name="T5" fmla="*/ 4 h 105"/>
                  <a:gd name="T6" fmla="*/ 94 w 110"/>
                  <a:gd name="T7" fmla="*/ 15 h 105"/>
                  <a:gd name="T8" fmla="*/ 53 w 110"/>
                  <a:gd name="T9" fmla="*/ 51 h 105"/>
                  <a:gd name="T10" fmla="*/ 15 w 110"/>
                  <a:gd name="T11" fmla="*/ 88 h 105"/>
                  <a:gd name="T12" fmla="*/ 4 w 110"/>
                  <a:gd name="T13" fmla="*/ 101 h 105"/>
                  <a:gd name="T14" fmla="*/ 1 w 110"/>
                  <a:gd name="T15" fmla="*/ 104 h 105"/>
                  <a:gd name="T16" fmla="*/ 0 w 110"/>
                  <a:gd name="T17" fmla="*/ 105 h 105"/>
                  <a:gd name="T18" fmla="*/ 0 w 110"/>
                  <a:gd name="T19" fmla="*/ 104 h 105"/>
                  <a:gd name="T20" fmla="*/ 3 w 110"/>
                  <a:gd name="T21" fmla="*/ 100 h 105"/>
                  <a:gd name="T22" fmla="*/ 14 w 110"/>
                  <a:gd name="T23" fmla="*/ 88 h 105"/>
                  <a:gd name="T24" fmla="*/ 52 w 110"/>
                  <a:gd name="T25" fmla="*/ 50 h 105"/>
                  <a:gd name="T26" fmla="*/ 93 w 110"/>
                  <a:gd name="T27" fmla="*/ 14 h 105"/>
                  <a:gd name="T28" fmla="*/ 105 w 110"/>
                  <a:gd name="T29" fmla="*/ 4 h 105"/>
                  <a:gd name="T30" fmla="*/ 109 w 110"/>
                  <a:gd name="T31" fmla="*/ 1 h 105"/>
                  <a:gd name="T32" fmla="*/ 110 w 110"/>
                  <a:gd name="T33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" h="105">
                    <a:moveTo>
                      <a:pt x="110" y="0"/>
                    </a:moveTo>
                    <a:cubicBezTo>
                      <a:pt x="110" y="0"/>
                      <a:pt x="110" y="0"/>
                      <a:pt x="109" y="1"/>
                    </a:cubicBezTo>
                    <a:cubicBezTo>
                      <a:pt x="108" y="2"/>
                      <a:pt x="107" y="3"/>
                      <a:pt x="106" y="4"/>
                    </a:cubicBezTo>
                    <a:cubicBezTo>
                      <a:pt x="103" y="7"/>
                      <a:pt x="99" y="10"/>
                      <a:pt x="94" y="15"/>
                    </a:cubicBezTo>
                    <a:cubicBezTo>
                      <a:pt x="83" y="24"/>
                      <a:pt x="69" y="37"/>
                      <a:pt x="53" y="51"/>
                    </a:cubicBezTo>
                    <a:cubicBezTo>
                      <a:pt x="38" y="65"/>
                      <a:pt x="24" y="78"/>
                      <a:pt x="15" y="88"/>
                    </a:cubicBezTo>
                    <a:cubicBezTo>
                      <a:pt x="10" y="93"/>
                      <a:pt x="6" y="98"/>
                      <a:pt x="4" y="101"/>
                    </a:cubicBezTo>
                    <a:cubicBezTo>
                      <a:pt x="2" y="102"/>
                      <a:pt x="1" y="103"/>
                      <a:pt x="1" y="104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05"/>
                      <a:pt x="0" y="105"/>
                      <a:pt x="0" y="104"/>
                    </a:cubicBezTo>
                    <a:cubicBezTo>
                      <a:pt x="1" y="103"/>
                      <a:pt x="2" y="102"/>
                      <a:pt x="3" y="100"/>
                    </a:cubicBezTo>
                    <a:cubicBezTo>
                      <a:pt x="6" y="97"/>
                      <a:pt x="9" y="93"/>
                      <a:pt x="14" y="88"/>
                    </a:cubicBezTo>
                    <a:cubicBezTo>
                      <a:pt x="23" y="77"/>
                      <a:pt x="37" y="64"/>
                      <a:pt x="52" y="50"/>
                    </a:cubicBezTo>
                    <a:cubicBezTo>
                      <a:pt x="68" y="36"/>
                      <a:pt x="83" y="23"/>
                      <a:pt x="93" y="14"/>
                    </a:cubicBezTo>
                    <a:cubicBezTo>
                      <a:pt x="98" y="10"/>
                      <a:pt x="102" y="6"/>
                      <a:pt x="105" y="4"/>
                    </a:cubicBezTo>
                    <a:cubicBezTo>
                      <a:pt x="107" y="2"/>
                      <a:pt x="108" y="1"/>
                      <a:pt x="109" y="1"/>
                    </a:cubicBezTo>
                    <a:cubicBezTo>
                      <a:pt x="110" y="0"/>
                      <a:pt x="110" y="0"/>
                      <a:pt x="11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7" name="Freeform 39">
                <a:extLst>
                  <a:ext uri="{FF2B5EF4-FFF2-40B4-BE49-F238E27FC236}">
                    <a16:creationId xmlns:a16="http://schemas.microsoft.com/office/drawing/2014/main" id="{D91B3A20-A5BC-C7BB-6462-811664E623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2758"/>
                <a:ext cx="19" cy="57"/>
              </a:xfrm>
              <a:custGeom>
                <a:avLst/>
                <a:gdLst>
                  <a:gd name="T0" fmla="*/ 0 w 12"/>
                  <a:gd name="T1" fmla="*/ 35 h 35"/>
                  <a:gd name="T2" fmla="*/ 7 w 12"/>
                  <a:gd name="T3" fmla="*/ 18 h 35"/>
                  <a:gd name="T4" fmla="*/ 12 w 12"/>
                  <a:gd name="T5" fmla="*/ 0 h 35"/>
                  <a:gd name="T6" fmla="*/ 8 w 12"/>
                  <a:gd name="T7" fmla="*/ 18 h 35"/>
                  <a:gd name="T8" fmla="*/ 3 w 12"/>
                  <a:gd name="T9" fmla="*/ 30 h 35"/>
                  <a:gd name="T10" fmla="*/ 0 w 12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35">
                    <a:moveTo>
                      <a:pt x="0" y="35"/>
                    </a:moveTo>
                    <a:cubicBezTo>
                      <a:pt x="0" y="35"/>
                      <a:pt x="3" y="27"/>
                      <a:pt x="7" y="18"/>
                    </a:cubicBezTo>
                    <a:cubicBezTo>
                      <a:pt x="10" y="8"/>
                      <a:pt x="11" y="0"/>
                      <a:pt x="12" y="0"/>
                    </a:cubicBezTo>
                    <a:cubicBezTo>
                      <a:pt x="12" y="0"/>
                      <a:pt x="11" y="9"/>
                      <a:pt x="8" y="18"/>
                    </a:cubicBezTo>
                    <a:cubicBezTo>
                      <a:pt x="6" y="23"/>
                      <a:pt x="4" y="27"/>
                      <a:pt x="3" y="30"/>
                    </a:cubicBezTo>
                    <a:cubicBezTo>
                      <a:pt x="2" y="33"/>
                      <a:pt x="1" y="35"/>
                      <a:pt x="0" y="3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8" name="Freeform 40">
                <a:extLst>
                  <a:ext uri="{FF2B5EF4-FFF2-40B4-BE49-F238E27FC236}">
                    <a16:creationId xmlns:a16="http://schemas.microsoft.com/office/drawing/2014/main" id="{E037D17B-4675-9046-E51C-4A0688480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" y="2794"/>
                <a:ext cx="97" cy="122"/>
              </a:xfrm>
              <a:custGeom>
                <a:avLst/>
                <a:gdLst>
                  <a:gd name="T0" fmla="*/ 59 w 59"/>
                  <a:gd name="T1" fmla="*/ 74 h 74"/>
                  <a:gd name="T2" fmla="*/ 56 w 59"/>
                  <a:gd name="T3" fmla="*/ 72 h 74"/>
                  <a:gd name="T4" fmla="*/ 50 w 59"/>
                  <a:gd name="T5" fmla="*/ 64 h 74"/>
                  <a:gd name="T6" fmla="*/ 30 w 59"/>
                  <a:gd name="T7" fmla="*/ 37 h 74"/>
                  <a:gd name="T8" fmla="*/ 9 w 59"/>
                  <a:gd name="T9" fmla="*/ 11 h 74"/>
                  <a:gd name="T10" fmla="*/ 2 w 59"/>
                  <a:gd name="T11" fmla="*/ 4 h 74"/>
                  <a:gd name="T12" fmla="*/ 0 w 59"/>
                  <a:gd name="T13" fmla="*/ 1 h 74"/>
                  <a:gd name="T14" fmla="*/ 3 w 59"/>
                  <a:gd name="T15" fmla="*/ 3 h 74"/>
                  <a:gd name="T16" fmla="*/ 10 w 59"/>
                  <a:gd name="T17" fmla="*/ 11 h 74"/>
                  <a:gd name="T18" fmla="*/ 31 w 59"/>
                  <a:gd name="T19" fmla="*/ 36 h 74"/>
                  <a:gd name="T20" fmla="*/ 51 w 59"/>
                  <a:gd name="T21" fmla="*/ 63 h 74"/>
                  <a:gd name="T22" fmla="*/ 57 w 59"/>
                  <a:gd name="T23" fmla="*/ 71 h 74"/>
                  <a:gd name="T24" fmla="*/ 59 w 59"/>
                  <a:gd name="T25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74">
                    <a:moveTo>
                      <a:pt x="59" y="74"/>
                    </a:moveTo>
                    <a:cubicBezTo>
                      <a:pt x="59" y="74"/>
                      <a:pt x="58" y="73"/>
                      <a:pt x="56" y="72"/>
                    </a:cubicBezTo>
                    <a:cubicBezTo>
                      <a:pt x="55" y="70"/>
                      <a:pt x="53" y="67"/>
                      <a:pt x="50" y="64"/>
                    </a:cubicBezTo>
                    <a:cubicBezTo>
                      <a:pt x="45" y="57"/>
                      <a:pt x="38" y="48"/>
                      <a:pt x="30" y="37"/>
                    </a:cubicBezTo>
                    <a:cubicBezTo>
                      <a:pt x="22" y="27"/>
                      <a:pt x="14" y="18"/>
                      <a:pt x="9" y="11"/>
                    </a:cubicBezTo>
                    <a:cubicBezTo>
                      <a:pt x="6" y="8"/>
                      <a:pt x="4" y="6"/>
                      <a:pt x="2" y="4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1"/>
                      <a:pt x="3" y="3"/>
                    </a:cubicBezTo>
                    <a:cubicBezTo>
                      <a:pt x="4" y="5"/>
                      <a:pt x="7" y="8"/>
                      <a:pt x="10" y="11"/>
                    </a:cubicBezTo>
                    <a:cubicBezTo>
                      <a:pt x="15" y="17"/>
                      <a:pt x="23" y="26"/>
                      <a:pt x="31" y="36"/>
                    </a:cubicBezTo>
                    <a:cubicBezTo>
                      <a:pt x="39" y="47"/>
                      <a:pt x="46" y="56"/>
                      <a:pt x="51" y="63"/>
                    </a:cubicBezTo>
                    <a:cubicBezTo>
                      <a:pt x="54" y="66"/>
                      <a:pt x="56" y="69"/>
                      <a:pt x="57" y="71"/>
                    </a:cubicBezTo>
                    <a:cubicBezTo>
                      <a:pt x="58" y="73"/>
                      <a:pt x="59" y="74"/>
                      <a:pt x="59" y="7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9" name="Freeform 41">
                <a:extLst>
                  <a:ext uri="{FF2B5EF4-FFF2-40B4-BE49-F238E27FC236}">
                    <a16:creationId xmlns:a16="http://schemas.microsoft.com/office/drawing/2014/main" id="{B999EE1E-CE0B-7974-09E9-8079566059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" y="2825"/>
                <a:ext cx="18" cy="51"/>
              </a:xfrm>
              <a:custGeom>
                <a:avLst/>
                <a:gdLst>
                  <a:gd name="T0" fmla="*/ 10 w 11"/>
                  <a:gd name="T1" fmla="*/ 31 h 31"/>
                  <a:gd name="T2" fmla="*/ 2 w 11"/>
                  <a:gd name="T3" fmla="*/ 15 h 31"/>
                  <a:gd name="T4" fmla="*/ 0 w 11"/>
                  <a:gd name="T5" fmla="*/ 0 h 31"/>
                  <a:gd name="T6" fmla="*/ 1 w 11"/>
                  <a:gd name="T7" fmla="*/ 0 h 31"/>
                  <a:gd name="T8" fmla="*/ 1 w 11"/>
                  <a:gd name="T9" fmla="*/ 2 h 31"/>
                  <a:gd name="T10" fmla="*/ 0 w 11"/>
                  <a:gd name="T11" fmla="*/ 0 h 31"/>
                  <a:gd name="T12" fmla="*/ 1 w 11"/>
                  <a:gd name="T13" fmla="*/ 0 h 31"/>
                  <a:gd name="T14" fmla="*/ 4 w 11"/>
                  <a:gd name="T15" fmla="*/ 15 h 31"/>
                  <a:gd name="T16" fmla="*/ 10 w 11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1">
                    <a:moveTo>
                      <a:pt x="10" y="31"/>
                    </a:moveTo>
                    <a:cubicBezTo>
                      <a:pt x="10" y="31"/>
                      <a:pt x="5" y="25"/>
                      <a:pt x="2" y="15"/>
                    </a:cubicBezTo>
                    <a:cubicBezTo>
                      <a:pt x="0" y="9"/>
                      <a:pt x="0" y="3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3"/>
                      <a:pt x="2" y="9"/>
                      <a:pt x="4" y="15"/>
                    </a:cubicBezTo>
                    <a:cubicBezTo>
                      <a:pt x="6" y="24"/>
                      <a:pt x="11" y="30"/>
                      <a:pt x="10" y="3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0" name="Freeform 42">
                <a:extLst>
                  <a:ext uri="{FF2B5EF4-FFF2-40B4-BE49-F238E27FC236}">
                    <a16:creationId xmlns:a16="http://schemas.microsoft.com/office/drawing/2014/main" id="{BE1C50D3-96E1-58BC-B0BD-F836F75990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" y="2814"/>
                <a:ext cx="73" cy="10"/>
              </a:xfrm>
              <a:custGeom>
                <a:avLst/>
                <a:gdLst>
                  <a:gd name="T0" fmla="*/ 43 w 44"/>
                  <a:gd name="T1" fmla="*/ 6 h 6"/>
                  <a:gd name="T2" fmla="*/ 38 w 44"/>
                  <a:gd name="T3" fmla="*/ 3 h 6"/>
                  <a:gd name="T4" fmla="*/ 22 w 44"/>
                  <a:gd name="T5" fmla="*/ 2 h 6"/>
                  <a:gd name="T6" fmla="*/ 6 w 44"/>
                  <a:gd name="T7" fmla="*/ 4 h 6"/>
                  <a:gd name="T8" fmla="*/ 0 w 44"/>
                  <a:gd name="T9" fmla="*/ 6 h 6"/>
                  <a:gd name="T10" fmla="*/ 6 w 44"/>
                  <a:gd name="T11" fmla="*/ 3 h 6"/>
                  <a:gd name="T12" fmla="*/ 22 w 44"/>
                  <a:gd name="T13" fmla="*/ 0 h 6"/>
                  <a:gd name="T14" fmla="*/ 38 w 44"/>
                  <a:gd name="T15" fmla="*/ 2 h 6"/>
                  <a:gd name="T16" fmla="*/ 43 w 44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">
                    <a:moveTo>
                      <a:pt x="43" y="6"/>
                    </a:moveTo>
                    <a:cubicBezTo>
                      <a:pt x="43" y="6"/>
                      <a:pt x="42" y="4"/>
                      <a:pt x="38" y="3"/>
                    </a:cubicBezTo>
                    <a:cubicBezTo>
                      <a:pt x="34" y="1"/>
                      <a:pt x="28" y="1"/>
                      <a:pt x="22" y="2"/>
                    </a:cubicBezTo>
                    <a:cubicBezTo>
                      <a:pt x="16" y="2"/>
                      <a:pt x="10" y="3"/>
                      <a:pt x="6" y="4"/>
                    </a:cubicBezTo>
                    <a:cubicBezTo>
                      <a:pt x="2" y="5"/>
                      <a:pt x="0" y="6"/>
                      <a:pt x="0" y="6"/>
                    </a:cubicBezTo>
                    <a:cubicBezTo>
                      <a:pt x="0" y="5"/>
                      <a:pt x="2" y="4"/>
                      <a:pt x="6" y="3"/>
                    </a:cubicBezTo>
                    <a:cubicBezTo>
                      <a:pt x="10" y="2"/>
                      <a:pt x="16" y="1"/>
                      <a:pt x="22" y="0"/>
                    </a:cubicBezTo>
                    <a:cubicBezTo>
                      <a:pt x="28" y="0"/>
                      <a:pt x="34" y="0"/>
                      <a:pt x="38" y="2"/>
                    </a:cubicBezTo>
                    <a:cubicBezTo>
                      <a:pt x="42" y="4"/>
                      <a:pt x="44" y="6"/>
                      <a:pt x="43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1" name="Freeform 43">
                <a:extLst>
                  <a:ext uri="{FF2B5EF4-FFF2-40B4-BE49-F238E27FC236}">
                    <a16:creationId xmlns:a16="http://schemas.microsoft.com/office/drawing/2014/main" id="{8F32D048-D6DF-2B66-B78C-07EA00988F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0" y="2796"/>
                <a:ext cx="102" cy="16"/>
              </a:xfrm>
              <a:custGeom>
                <a:avLst/>
                <a:gdLst>
                  <a:gd name="T0" fmla="*/ 61 w 62"/>
                  <a:gd name="T1" fmla="*/ 9 h 10"/>
                  <a:gd name="T2" fmla="*/ 53 w 62"/>
                  <a:gd name="T3" fmla="*/ 6 h 10"/>
                  <a:gd name="T4" fmla="*/ 31 w 62"/>
                  <a:gd name="T5" fmla="*/ 2 h 10"/>
                  <a:gd name="T6" fmla="*/ 9 w 62"/>
                  <a:gd name="T7" fmla="*/ 3 h 10"/>
                  <a:gd name="T8" fmla="*/ 0 w 62"/>
                  <a:gd name="T9" fmla="*/ 5 h 10"/>
                  <a:gd name="T10" fmla="*/ 2 w 62"/>
                  <a:gd name="T11" fmla="*/ 4 h 10"/>
                  <a:gd name="T12" fmla="*/ 9 w 62"/>
                  <a:gd name="T13" fmla="*/ 2 h 10"/>
                  <a:gd name="T14" fmla="*/ 31 w 62"/>
                  <a:gd name="T15" fmla="*/ 0 h 10"/>
                  <a:gd name="T16" fmla="*/ 53 w 62"/>
                  <a:gd name="T17" fmla="*/ 5 h 10"/>
                  <a:gd name="T18" fmla="*/ 59 w 62"/>
                  <a:gd name="T19" fmla="*/ 8 h 10"/>
                  <a:gd name="T20" fmla="*/ 61 w 62"/>
                  <a:gd name="T21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10">
                    <a:moveTo>
                      <a:pt x="61" y="9"/>
                    </a:moveTo>
                    <a:cubicBezTo>
                      <a:pt x="61" y="10"/>
                      <a:pt x="58" y="8"/>
                      <a:pt x="53" y="6"/>
                    </a:cubicBezTo>
                    <a:cubicBezTo>
                      <a:pt x="47" y="4"/>
                      <a:pt x="40" y="2"/>
                      <a:pt x="31" y="2"/>
                    </a:cubicBezTo>
                    <a:cubicBezTo>
                      <a:pt x="22" y="1"/>
                      <a:pt x="15" y="2"/>
                      <a:pt x="9" y="3"/>
                    </a:cubicBezTo>
                    <a:cubicBezTo>
                      <a:pt x="3" y="4"/>
                      <a:pt x="0" y="5"/>
                      <a:pt x="0" y="5"/>
                    </a:cubicBezTo>
                    <a:cubicBezTo>
                      <a:pt x="0" y="5"/>
                      <a:pt x="1" y="4"/>
                      <a:pt x="2" y="4"/>
                    </a:cubicBezTo>
                    <a:cubicBezTo>
                      <a:pt x="4" y="3"/>
                      <a:pt x="6" y="3"/>
                      <a:pt x="9" y="2"/>
                    </a:cubicBezTo>
                    <a:cubicBezTo>
                      <a:pt x="14" y="1"/>
                      <a:pt x="22" y="0"/>
                      <a:pt x="31" y="0"/>
                    </a:cubicBezTo>
                    <a:cubicBezTo>
                      <a:pt x="40" y="1"/>
                      <a:pt x="48" y="3"/>
                      <a:pt x="53" y="5"/>
                    </a:cubicBezTo>
                    <a:cubicBezTo>
                      <a:pt x="56" y="6"/>
                      <a:pt x="58" y="7"/>
                      <a:pt x="59" y="8"/>
                    </a:cubicBezTo>
                    <a:cubicBezTo>
                      <a:pt x="61" y="9"/>
                      <a:pt x="62" y="9"/>
                      <a:pt x="61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2" name="Freeform 44">
                <a:extLst>
                  <a:ext uri="{FF2B5EF4-FFF2-40B4-BE49-F238E27FC236}">
                    <a16:creationId xmlns:a16="http://schemas.microsoft.com/office/drawing/2014/main" id="{582D9683-3EE5-5FAA-2C78-7B2E9A588C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4" y="2685"/>
                <a:ext cx="20" cy="73"/>
              </a:xfrm>
              <a:custGeom>
                <a:avLst/>
                <a:gdLst>
                  <a:gd name="T0" fmla="*/ 12 w 12"/>
                  <a:gd name="T1" fmla="*/ 44 h 44"/>
                  <a:gd name="T2" fmla="*/ 5 w 12"/>
                  <a:gd name="T3" fmla="*/ 22 h 44"/>
                  <a:gd name="T4" fmla="*/ 0 w 12"/>
                  <a:gd name="T5" fmla="*/ 0 h 44"/>
                  <a:gd name="T6" fmla="*/ 7 w 12"/>
                  <a:gd name="T7" fmla="*/ 22 h 44"/>
                  <a:gd name="T8" fmla="*/ 12 w 12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12" y="44"/>
                    </a:moveTo>
                    <a:cubicBezTo>
                      <a:pt x="11" y="44"/>
                      <a:pt x="8" y="34"/>
                      <a:pt x="5" y="22"/>
                    </a:cubicBezTo>
                    <a:cubicBezTo>
                      <a:pt x="2" y="10"/>
                      <a:pt x="0" y="0"/>
                      <a:pt x="0" y="0"/>
                    </a:cubicBezTo>
                    <a:cubicBezTo>
                      <a:pt x="1" y="0"/>
                      <a:pt x="4" y="10"/>
                      <a:pt x="7" y="22"/>
                    </a:cubicBezTo>
                    <a:cubicBezTo>
                      <a:pt x="10" y="34"/>
                      <a:pt x="12" y="44"/>
                      <a:pt x="12" y="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3" name="Freeform 45">
                <a:extLst>
                  <a:ext uri="{FF2B5EF4-FFF2-40B4-BE49-F238E27FC236}">
                    <a16:creationId xmlns:a16="http://schemas.microsoft.com/office/drawing/2014/main" id="{97EE186D-CB65-CE2A-D008-7C7AA24D4C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4" y="2718"/>
                <a:ext cx="30" cy="40"/>
              </a:xfrm>
              <a:custGeom>
                <a:avLst/>
                <a:gdLst>
                  <a:gd name="T0" fmla="*/ 18 w 18"/>
                  <a:gd name="T1" fmla="*/ 24 h 24"/>
                  <a:gd name="T2" fmla="*/ 11 w 18"/>
                  <a:gd name="T3" fmla="*/ 11 h 24"/>
                  <a:gd name="T4" fmla="*/ 1 w 18"/>
                  <a:gd name="T5" fmla="*/ 0 h 24"/>
                  <a:gd name="T6" fmla="*/ 5 w 18"/>
                  <a:gd name="T7" fmla="*/ 2 h 24"/>
                  <a:gd name="T8" fmla="*/ 12 w 18"/>
                  <a:gd name="T9" fmla="*/ 10 h 24"/>
                  <a:gd name="T10" fmla="*/ 18 w 18"/>
                  <a:gd name="T1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24">
                    <a:moveTo>
                      <a:pt x="18" y="24"/>
                    </a:moveTo>
                    <a:cubicBezTo>
                      <a:pt x="18" y="24"/>
                      <a:pt x="16" y="18"/>
                      <a:pt x="11" y="11"/>
                    </a:cubicBezTo>
                    <a:cubicBezTo>
                      <a:pt x="6" y="4"/>
                      <a:pt x="0" y="1"/>
                      <a:pt x="1" y="0"/>
                    </a:cubicBezTo>
                    <a:cubicBezTo>
                      <a:pt x="1" y="0"/>
                      <a:pt x="2" y="1"/>
                      <a:pt x="5" y="2"/>
                    </a:cubicBezTo>
                    <a:cubicBezTo>
                      <a:pt x="7" y="4"/>
                      <a:pt x="10" y="7"/>
                      <a:pt x="12" y="10"/>
                    </a:cubicBezTo>
                    <a:cubicBezTo>
                      <a:pt x="17" y="17"/>
                      <a:pt x="18" y="24"/>
                      <a:pt x="18" y="2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4" name="Freeform 46">
                <a:extLst>
                  <a:ext uri="{FF2B5EF4-FFF2-40B4-BE49-F238E27FC236}">
                    <a16:creationId xmlns:a16="http://schemas.microsoft.com/office/drawing/2014/main" id="{CFFF64E5-FE85-0341-06B1-720026E9C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" y="2992"/>
                <a:ext cx="153" cy="243"/>
              </a:xfrm>
              <a:custGeom>
                <a:avLst/>
                <a:gdLst>
                  <a:gd name="T0" fmla="*/ 93 w 93"/>
                  <a:gd name="T1" fmla="*/ 148 h 148"/>
                  <a:gd name="T2" fmla="*/ 91 w 93"/>
                  <a:gd name="T3" fmla="*/ 141 h 148"/>
                  <a:gd name="T4" fmla="*/ 84 w 93"/>
                  <a:gd name="T5" fmla="*/ 124 h 148"/>
                  <a:gd name="T6" fmla="*/ 49 w 93"/>
                  <a:gd name="T7" fmla="*/ 73 h 148"/>
                  <a:gd name="T8" fmla="*/ 26 w 93"/>
                  <a:gd name="T9" fmla="*/ 47 h 148"/>
                  <a:gd name="T10" fmla="*/ 10 w 93"/>
                  <a:gd name="T11" fmla="*/ 24 h 148"/>
                  <a:gd name="T12" fmla="*/ 2 w 93"/>
                  <a:gd name="T13" fmla="*/ 7 h 148"/>
                  <a:gd name="T14" fmla="*/ 0 w 93"/>
                  <a:gd name="T15" fmla="*/ 2 h 148"/>
                  <a:gd name="T16" fmla="*/ 0 w 93"/>
                  <a:gd name="T17" fmla="*/ 0 h 148"/>
                  <a:gd name="T18" fmla="*/ 3 w 93"/>
                  <a:gd name="T19" fmla="*/ 7 h 148"/>
                  <a:gd name="T20" fmla="*/ 11 w 93"/>
                  <a:gd name="T21" fmla="*/ 24 h 148"/>
                  <a:gd name="T22" fmla="*/ 27 w 93"/>
                  <a:gd name="T23" fmla="*/ 46 h 148"/>
                  <a:gd name="T24" fmla="*/ 50 w 93"/>
                  <a:gd name="T25" fmla="*/ 72 h 148"/>
                  <a:gd name="T26" fmla="*/ 85 w 93"/>
                  <a:gd name="T27" fmla="*/ 123 h 148"/>
                  <a:gd name="T28" fmla="*/ 92 w 93"/>
                  <a:gd name="T29" fmla="*/ 141 h 148"/>
                  <a:gd name="T30" fmla="*/ 93 w 93"/>
                  <a:gd name="T31" fmla="*/ 146 h 148"/>
                  <a:gd name="T32" fmla="*/ 93 w 93"/>
                  <a:gd name="T3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148">
                    <a:moveTo>
                      <a:pt x="93" y="148"/>
                    </a:moveTo>
                    <a:cubicBezTo>
                      <a:pt x="93" y="148"/>
                      <a:pt x="92" y="146"/>
                      <a:pt x="91" y="141"/>
                    </a:cubicBezTo>
                    <a:cubicBezTo>
                      <a:pt x="90" y="137"/>
                      <a:pt x="88" y="131"/>
                      <a:pt x="84" y="124"/>
                    </a:cubicBezTo>
                    <a:cubicBezTo>
                      <a:pt x="77" y="110"/>
                      <a:pt x="65" y="92"/>
                      <a:pt x="49" y="73"/>
                    </a:cubicBezTo>
                    <a:cubicBezTo>
                      <a:pt x="40" y="64"/>
                      <a:pt x="33" y="56"/>
                      <a:pt x="26" y="47"/>
                    </a:cubicBezTo>
                    <a:cubicBezTo>
                      <a:pt x="20" y="39"/>
                      <a:pt x="14" y="31"/>
                      <a:pt x="10" y="24"/>
                    </a:cubicBezTo>
                    <a:cubicBezTo>
                      <a:pt x="6" y="17"/>
                      <a:pt x="4" y="11"/>
                      <a:pt x="2" y="7"/>
                    </a:cubicBezTo>
                    <a:cubicBezTo>
                      <a:pt x="1" y="5"/>
                      <a:pt x="1" y="3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3"/>
                      <a:pt x="3" y="7"/>
                    </a:cubicBezTo>
                    <a:cubicBezTo>
                      <a:pt x="4" y="11"/>
                      <a:pt x="7" y="17"/>
                      <a:pt x="11" y="24"/>
                    </a:cubicBezTo>
                    <a:cubicBezTo>
                      <a:pt x="15" y="31"/>
                      <a:pt x="21" y="38"/>
                      <a:pt x="27" y="46"/>
                    </a:cubicBezTo>
                    <a:cubicBezTo>
                      <a:pt x="34" y="55"/>
                      <a:pt x="42" y="63"/>
                      <a:pt x="50" y="72"/>
                    </a:cubicBezTo>
                    <a:cubicBezTo>
                      <a:pt x="66" y="91"/>
                      <a:pt x="79" y="109"/>
                      <a:pt x="85" y="123"/>
                    </a:cubicBezTo>
                    <a:cubicBezTo>
                      <a:pt x="89" y="131"/>
                      <a:pt x="91" y="137"/>
                      <a:pt x="92" y="141"/>
                    </a:cubicBezTo>
                    <a:cubicBezTo>
                      <a:pt x="92" y="144"/>
                      <a:pt x="92" y="145"/>
                      <a:pt x="93" y="146"/>
                    </a:cubicBezTo>
                    <a:cubicBezTo>
                      <a:pt x="93" y="148"/>
                      <a:pt x="93" y="148"/>
                      <a:pt x="93" y="14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5" name="Freeform 47">
                <a:extLst>
                  <a:ext uri="{FF2B5EF4-FFF2-40B4-BE49-F238E27FC236}">
                    <a16:creationId xmlns:a16="http://schemas.microsoft.com/office/drawing/2014/main" id="{2687717A-946A-9E60-0227-DE3B432FA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4" y="3087"/>
                <a:ext cx="132" cy="148"/>
              </a:xfrm>
              <a:custGeom>
                <a:avLst/>
                <a:gdLst>
                  <a:gd name="T0" fmla="*/ 80 w 80"/>
                  <a:gd name="T1" fmla="*/ 0 h 90"/>
                  <a:gd name="T2" fmla="*/ 75 w 80"/>
                  <a:gd name="T3" fmla="*/ 2 h 90"/>
                  <a:gd name="T4" fmla="*/ 65 w 80"/>
                  <a:gd name="T5" fmla="*/ 9 h 90"/>
                  <a:gd name="T6" fmla="*/ 50 w 80"/>
                  <a:gd name="T7" fmla="*/ 22 h 90"/>
                  <a:gd name="T8" fmla="*/ 35 w 80"/>
                  <a:gd name="T9" fmla="*/ 40 h 90"/>
                  <a:gd name="T10" fmla="*/ 9 w 80"/>
                  <a:gd name="T11" fmla="*/ 75 h 90"/>
                  <a:gd name="T12" fmla="*/ 2 w 80"/>
                  <a:gd name="T13" fmla="*/ 86 h 90"/>
                  <a:gd name="T14" fmla="*/ 0 w 80"/>
                  <a:gd name="T15" fmla="*/ 90 h 90"/>
                  <a:gd name="T16" fmla="*/ 0 w 80"/>
                  <a:gd name="T17" fmla="*/ 89 h 90"/>
                  <a:gd name="T18" fmla="*/ 2 w 80"/>
                  <a:gd name="T19" fmla="*/ 86 h 90"/>
                  <a:gd name="T20" fmla="*/ 8 w 80"/>
                  <a:gd name="T21" fmla="*/ 74 h 90"/>
                  <a:gd name="T22" fmla="*/ 34 w 80"/>
                  <a:gd name="T23" fmla="*/ 40 h 90"/>
                  <a:gd name="T24" fmla="*/ 49 w 80"/>
                  <a:gd name="T25" fmla="*/ 22 h 90"/>
                  <a:gd name="T26" fmla="*/ 64 w 80"/>
                  <a:gd name="T27" fmla="*/ 9 h 90"/>
                  <a:gd name="T28" fmla="*/ 75 w 80"/>
                  <a:gd name="T29" fmla="*/ 2 h 90"/>
                  <a:gd name="T30" fmla="*/ 78 w 80"/>
                  <a:gd name="T31" fmla="*/ 0 h 90"/>
                  <a:gd name="T32" fmla="*/ 80 w 80"/>
                  <a:gd name="T3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" h="90">
                    <a:moveTo>
                      <a:pt x="80" y="0"/>
                    </a:moveTo>
                    <a:cubicBezTo>
                      <a:pt x="80" y="0"/>
                      <a:pt x="78" y="1"/>
                      <a:pt x="75" y="2"/>
                    </a:cubicBezTo>
                    <a:cubicBezTo>
                      <a:pt x="73" y="4"/>
                      <a:pt x="69" y="6"/>
                      <a:pt x="65" y="9"/>
                    </a:cubicBezTo>
                    <a:cubicBezTo>
                      <a:pt x="60" y="13"/>
                      <a:pt x="55" y="17"/>
                      <a:pt x="50" y="22"/>
                    </a:cubicBezTo>
                    <a:cubicBezTo>
                      <a:pt x="45" y="28"/>
                      <a:pt x="40" y="34"/>
                      <a:pt x="35" y="40"/>
                    </a:cubicBezTo>
                    <a:cubicBezTo>
                      <a:pt x="24" y="54"/>
                      <a:pt x="15" y="65"/>
                      <a:pt x="9" y="75"/>
                    </a:cubicBezTo>
                    <a:cubicBezTo>
                      <a:pt x="6" y="79"/>
                      <a:pt x="3" y="83"/>
                      <a:pt x="2" y="86"/>
                    </a:cubicBezTo>
                    <a:cubicBezTo>
                      <a:pt x="1" y="89"/>
                      <a:pt x="0" y="90"/>
                      <a:pt x="0" y="90"/>
                    </a:cubicBezTo>
                    <a:cubicBezTo>
                      <a:pt x="0" y="90"/>
                      <a:pt x="0" y="90"/>
                      <a:pt x="0" y="89"/>
                    </a:cubicBezTo>
                    <a:cubicBezTo>
                      <a:pt x="0" y="88"/>
                      <a:pt x="1" y="87"/>
                      <a:pt x="2" y="86"/>
                    </a:cubicBezTo>
                    <a:cubicBezTo>
                      <a:pt x="3" y="83"/>
                      <a:pt x="5" y="79"/>
                      <a:pt x="8" y="74"/>
                    </a:cubicBezTo>
                    <a:cubicBezTo>
                      <a:pt x="13" y="65"/>
                      <a:pt x="23" y="53"/>
                      <a:pt x="34" y="40"/>
                    </a:cubicBezTo>
                    <a:cubicBezTo>
                      <a:pt x="39" y="33"/>
                      <a:pt x="44" y="27"/>
                      <a:pt x="49" y="22"/>
                    </a:cubicBezTo>
                    <a:cubicBezTo>
                      <a:pt x="54" y="16"/>
                      <a:pt x="59" y="12"/>
                      <a:pt x="64" y="9"/>
                    </a:cubicBezTo>
                    <a:cubicBezTo>
                      <a:pt x="68" y="5"/>
                      <a:pt x="72" y="3"/>
                      <a:pt x="75" y="2"/>
                    </a:cubicBezTo>
                    <a:cubicBezTo>
                      <a:pt x="77" y="1"/>
                      <a:pt x="78" y="1"/>
                      <a:pt x="78" y="0"/>
                    </a:cubicBezTo>
                    <a:cubicBezTo>
                      <a:pt x="79" y="0"/>
                      <a:pt x="80" y="0"/>
                      <a:pt x="8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6" name="Freeform 48">
                <a:extLst>
                  <a:ext uri="{FF2B5EF4-FFF2-40B4-BE49-F238E27FC236}">
                    <a16:creationId xmlns:a16="http://schemas.microsoft.com/office/drawing/2014/main" id="{7DCA5C58-E706-9060-8E2F-E36B268D9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" y="3135"/>
                <a:ext cx="90" cy="36"/>
              </a:xfrm>
              <a:custGeom>
                <a:avLst/>
                <a:gdLst>
                  <a:gd name="T0" fmla="*/ 55 w 55"/>
                  <a:gd name="T1" fmla="*/ 0 h 22"/>
                  <a:gd name="T2" fmla="*/ 46 w 55"/>
                  <a:gd name="T3" fmla="*/ 2 h 22"/>
                  <a:gd name="T4" fmla="*/ 25 w 55"/>
                  <a:gd name="T5" fmla="*/ 6 h 22"/>
                  <a:gd name="T6" fmla="*/ 7 w 55"/>
                  <a:gd name="T7" fmla="*/ 16 h 22"/>
                  <a:gd name="T8" fmla="*/ 0 w 55"/>
                  <a:gd name="T9" fmla="*/ 21 h 22"/>
                  <a:gd name="T10" fmla="*/ 1 w 55"/>
                  <a:gd name="T11" fmla="*/ 19 h 22"/>
                  <a:gd name="T12" fmla="*/ 6 w 55"/>
                  <a:gd name="T13" fmla="*/ 15 h 22"/>
                  <a:gd name="T14" fmla="*/ 25 w 55"/>
                  <a:gd name="T15" fmla="*/ 4 h 22"/>
                  <a:gd name="T16" fmla="*/ 46 w 55"/>
                  <a:gd name="T17" fmla="*/ 0 h 22"/>
                  <a:gd name="T18" fmla="*/ 55 w 55"/>
                  <a:gd name="T1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" h="22">
                    <a:moveTo>
                      <a:pt x="55" y="0"/>
                    </a:moveTo>
                    <a:cubicBezTo>
                      <a:pt x="55" y="0"/>
                      <a:pt x="52" y="1"/>
                      <a:pt x="46" y="2"/>
                    </a:cubicBezTo>
                    <a:cubicBezTo>
                      <a:pt x="41" y="2"/>
                      <a:pt x="33" y="3"/>
                      <a:pt x="25" y="6"/>
                    </a:cubicBezTo>
                    <a:cubicBezTo>
                      <a:pt x="17" y="8"/>
                      <a:pt x="11" y="12"/>
                      <a:pt x="7" y="16"/>
                    </a:cubicBezTo>
                    <a:cubicBezTo>
                      <a:pt x="2" y="19"/>
                      <a:pt x="0" y="22"/>
                      <a:pt x="0" y="21"/>
                    </a:cubicBezTo>
                    <a:cubicBezTo>
                      <a:pt x="0" y="21"/>
                      <a:pt x="0" y="21"/>
                      <a:pt x="1" y="19"/>
                    </a:cubicBezTo>
                    <a:cubicBezTo>
                      <a:pt x="2" y="18"/>
                      <a:pt x="4" y="17"/>
                      <a:pt x="6" y="15"/>
                    </a:cubicBezTo>
                    <a:cubicBezTo>
                      <a:pt x="10" y="11"/>
                      <a:pt x="17" y="7"/>
                      <a:pt x="25" y="4"/>
                    </a:cubicBezTo>
                    <a:cubicBezTo>
                      <a:pt x="33" y="2"/>
                      <a:pt x="41" y="1"/>
                      <a:pt x="46" y="0"/>
                    </a:cubicBezTo>
                    <a:cubicBezTo>
                      <a:pt x="52" y="0"/>
                      <a:pt x="55" y="0"/>
                      <a:pt x="55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7" name="Freeform 49">
                <a:extLst>
                  <a:ext uri="{FF2B5EF4-FFF2-40B4-BE49-F238E27FC236}">
                    <a16:creationId xmlns:a16="http://schemas.microsoft.com/office/drawing/2014/main" id="{1480F80E-68C0-E6C5-3298-F65BFC804A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0" y="3115"/>
                <a:ext cx="18" cy="49"/>
              </a:xfrm>
              <a:custGeom>
                <a:avLst/>
                <a:gdLst>
                  <a:gd name="T0" fmla="*/ 1 w 11"/>
                  <a:gd name="T1" fmla="*/ 30 h 30"/>
                  <a:gd name="T2" fmla="*/ 7 w 11"/>
                  <a:gd name="T3" fmla="*/ 16 h 30"/>
                  <a:gd name="T4" fmla="*/ 11 w 11"/>
                  <a:gd name="T5" fmla="*/ 0 h 30"/>
                  <a:gd name="T6" fmla="*/ 11 w 11"/>
                  <a:gd name="T7" fmla="*/ 5 h 30"/>
                  <a:gd name="T8" fmla="*/ 9 w 11"/>
                  <a:gd name="T9" fmla="*/ 16 h 30"/>
                  <a:gd name="T10" fmla="*/ 3 w 11"/>
                  <a:gd name="T11" fmla="*/ 26 h 30"/>
                  <a:gd name="T12" fmla="*/ 1 w 11"/>
                  <a:gd name="T1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30">
                    <a:moveTo>
                      <a:pt x="1" y="30"/>
                    </a:moveTo>
                    <a:cubicBezTo>
                      <a:pt x="0" y="30"/>
                      <a:pt x="4" y="24"/>
                      <a:pt x="7" y="16"/>
                    </a:cubicBezTo>
                    <a:cubicBezTo>
                      <a:pt x="10" y="7"/>
                      <a:pt x="11" y="0"/>
                      <a:pt x="11" y="0"/>
                    </a:cubicBezTo>
                    <a:cubicBezTo>
                      <a:pt x="11" y="0"/>
                      <a:pt x="11" y="2"/>
                      <a:pt x="11" y="5"/>
                    </a:cubicBezTo>
                    <a:cubicBezTo>
                      <a:pt x="11" y="8"/>
                      <a:pt x="10" y="12"/>
                      <a:pt x="9" y="16"/>
                    </a:cubicBezTo>
                    <a:cubicBezTo>
                      <a:pt x="7" y="20"/>
                      <a:pt x="5" y="24"/>
                      <a:pt x="3" y="26"/>
                    </a:cubicBezTo>
                    <a:cubicBezTo>
                      <a:pt x="2" y="29"/>
                      <a:pt x="1" y="30"/>
                      <a:pt x="1" y="3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8" name="Freeform 50">
                <a:extLst>
                  <a:ext uri="{FF2B5EF4-FFF2-40B4-BE49-F238E27FC236}">
                    <a16:creationId xmlns:a16="http://schemas.microsoft.com/office/drawing/2014/main" id="{EF9EBEA0-5CEF-B0A7-711A-B1B1581B0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4" y="2957"/>
                <a:ext cx="174" cy="181"/>
              </a:xfrm>
              <a:custGeom>
                <a:avLst/>
                <a:gdLst>
                  <a:gd name="T0" fmla="*/ 106 w 106"/>
                  <a:gd name="T1" fmla="*/ 0 h 110"/>
                  <a:gd name="T2" fmla="*/ 104 w 106"/>
                  <a:gd name="T3" fmla="*/ 1 h 110"/>
                  <a:gd name="T4" fmla="*/ 100 w 106"/>
                  <a:gd name="T5" fmla="*/ 3 h 110"/>
                  <a:gd name="T6" fmla="*/ 93 w 106"/>
                  <a:gd name="T7" fmla="*/ 6 h 110"/>
                  <a:gd name="T8" fmla="*/ 85 w 106"/>
                  <a:gd name="T9" fmla="*/ 10 h 110"/>
                  <a:gd name="T10" fmla="*/ 80 w 106"/>
                  <a:gd name="T11" fmla="*/ 13 h 110"/>
                  <a:gd name="T12" fmla="*/ 75 w 106"/>
                  <a:gd name="T13" fmla="*/ 16 h 110"/>
                  <a:gd name="T14" fmla="*/ 64 w 106"/>
                  <a:gd name="T15" fmla="*/ 24 h 110"/>
                  <a:gd name="T16" fmla="*/ 41 w 106"/>
                  <a:gd name="T17" fmla="*/ 44 h 110"/>
                  <a:gd name="T18" fmla="*/ 22 w 106"/>
                  <a:gd name="T19" fmla="*/ 68 h 110"/>
                  <a:gd name="T20" fmla="*/ 15 w 106"/>
                  <a:gd name="T21" fmla="*/ 79 h 110"/>
                  <a:gd name="T22" fmla="*/ 12 w 106"/>
                  <a:gd name="T23" fmla="*/ 84 h 110"/>
                  <a:gd name="T24" fmla="*/ 9 w 106"/>
                  <a:gd name="T25" fmla="*/ 89 h 110"/>
                  <a:gd name="T26" fmla="*/ 5 w 106"/>
                  <a:gd name="T27" fmla="*/ 97 h 110"/>
                  <a:gd name="T28" fmla="*/ 2 w 106"/>
                  <a:gd name="T29" fmla="*/ 104 h 110"/>
                  <a:gd name="T30" fmla="*/ 0 w 106"/>
                  <a:gd name="T31" fmla="*/ 108 h 110"/>
                  <a:gd name="T32" fmla="*/ 0 w 106"/>
                  <a:gd name="T33" fmla="*/ 110 h 110"/>
                  <a:gd name="T34" fmla="*/ 0 w 106"/>
                  <a:gd name="T35" fmla="*/ 108 h 110"/>
                  <a:gd name="T36" fmla="*/ 2 w 106"/>
                  <a:gd name="T37" fmla="*/ 104 h 110"/>
                  <a:gd name="T38" fmla="*/ 4 w 106"/>
                  <a:gd name="T39" fmla="*/ 97 h 110"/>
                  <a:gd name="T40" fmla="*/ 8 w 106"/>
                  <a:gd name="T41" fmla="*/ 88 h 110"/>
                  <a:gd name="T42" fmla="*/ 11 w 106"/>
                  <a:gd name="T43" fmla="*/ 83 h 110"/>
                  <a:gd name="T44" fmla="*/ 14 w 106"/>
                  <a:gd name="T45" fmla="*/ 78 h 110"/>
                  <a:gd name="T46" fmla="*/ 21 w 106"/>
                  <a:gd name="T47" fmla="*/ 67 h 110"/>
                  <a:gd name="T48" fmla="*/ 40 w 106"/>
                  <a:gd name="T49" fmla="*/ 43 h 110"/>
                  <a:gd name="T50" fmla="*/ 63 w 106"/>
                  <a:gd name="T51" fmla="*/ 23 h 110"/>
                  <a:gd name="T52" fmla="*/ 74 w 106"/>
                  <a:gd name="T53" fmla="*/ 15 h 110"/>
                  <a:gd name="T54" fmla="*/ 80 w 106"/>
                  <a:gd name="T55" fmla="*/ 12 h 110"/>
                  <a:gd name="T56" fmla="*/ 84 w 106"/>
                  <a:gd name="T57" fmla="*/ 10 h 110"/>
                  <a:gd name="T58" fmla="*/ 93 w 106"/>
                  <a:gd name="T59" fmla="*/ 5 h 110"/>
                  <a:gd name="T60" fmla="*/ 100 w 106"/>
                  <a:gd name="T61" fmla="*/ 2 h 110"/>
                  <a:gd name="T62" fmla="*/ 104 w 106"/>
                  <a:gd name="T63" fmla="*/ 1 h 110"/>
                  <a:gd name="T64" fmla="*/ 106 w 106"/>
                  <a:gd name="T65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6" h="110">
                    <a:moveTo>
                      <a:pt x="106" y="0"/>
                    </a:moveTo>
                    <a:cubicBezTo>
                      <a:pt x="106" y="0"/>
                      <a:pt x="105" y="1"/>
                      <a:pt x="104" y="1"/>
                    </a:cubicBezTo>
                    <a:cubicBezTo>
                      <a:pt x="103" y="2"/>
                      <a:pt x="102" y="2"/>
                      <a:pt x="100" y="3"/>
                    </a:cubicBezTo>
                    <a:cubicBezTo>
                      <a:pt x="98" y="4"/>
                      <a:pt x="96" y="5"/>
                      <a:pt x="93" y="6"/>
                    </a:cubicBezTo>
                    <a:cubicBezTo>
                      <a:pt x="91" y="7"/>
                      <a:pt x="88" y="9"/>
                      <a:pt x="85" y="10"/>
                    </a:cubicBezTo>
                    <a:cubicBezTo>
                      <a:pt x="83" y="11"/>
                      <a:pt x="82" y="12"/>
                      <a:pt x="80" y="13"/>
                    </a:cubicBezTo>
                    <a:cubicBezTo>
                      <a:pt x="78" y="14"/>
                      <a:pt x="77" y="15"/>
                      <a:pt x="75" y="16"/>
                    </a:cubicBezTo>
                    <a:cubicBezTo>
                      <a:pt x="71" y="19"/>
                      <a:pt x="68" y="21"/>
                      <a:pt x="64" y="24"/>
                    </a:cubicBezTo>
                    <a:cubicBezTo>
                      <a:pt x="57" y="30"/>
                      <a:pt x="49" y="36"/>
                      <a:pt x="41" y="44"/>
                    </a:cubicBezTo>
                    <a:cubicBezTo>
                      <a:pt x="34" y="52"/>
                      <a:pt x="27" y="60"/>
                      <a:pt x="22" y="68"/>
                    </a:cubicBezTo>
                    <a:cubicBezTo>
                      <a:pt x="19" y="71"/>
                      <a:pt x="17" y="75"/>
                      <a:pt x="15" y="79"/>
                    </a:cubicBezTo>
                    <a:cubicBezTo>
                      <a:pt x="14" y="81"/>
                      <a:pt x="13" y="82"/>
                      <a:pt x="12" y="84"/>
                    </a:cubicBezTo>
                    <a:cubicBezTo>
                      <a:pt x="11" y="86"/>
                      <a:pt x="10" y="87"/>
                      <a:pt x="9" y="89"/>
                    </a:cubicBezTo>
                    <a:cubicBezTo>
                      <a:pt x="8" y="92"/>
                      <a:pt x="6" y="95"/>
                      <a:pt x="5" y="97"/>
                    </a:cubicBezTo>
                    <a:cubicBezTo>
                      <a:pt x="4" y="100"/>
                      <a:pt x="3" y="102"/>
                      <a:pt x="2" y="104"/>
                    </a:cubicBezTo>
                    <a:cubicBezTo>
                      <a:pt x="2" y="106"/>
                      <a:pt x="1" y="107"/>
                      <a:pt x="0" y="108"/>
                    </a:cubicBezTo>
                    <a:cubicBezTo>
                      <a:pt x="0" y="109"/>
                      <a:pt x="0" y="110"/>
                      <a:pt x="0" y="110"/>
                    </a:cubicBezTo>
                    <a:cubicBezTo>
                      <a:pt x="0" y="110"/>
                      <a:pt x="0" y="109"/>
                      <a:pt x="0" y="108"/>
                    </a:cubicBezTo>
                    <a:cubicBezTo>
                      <a:pt x="1" y="107"/>
                      <a:pt x="1" y="106"/>
                      <a:pt x="2" y="104"/>
                    </a:cubicBezTo>
                    <a:cubicBezTo>
                      <a:pt x="2" y="102"/>
                      <a:pt x="3" y="100"/>
                      <a:pt x="4" y="97"/>
                    </a:cubicBezTo>
                    <a:cubicBezTo>
                      <a:pt x="5" y="95"/>
                      <a:pt x="7" y="92"/>
                      <a:pt x="8" y="88"/>
                    </a:cubicBezTo>
                    <a:cubicBezTo>
                      <a:pt x="9" y="87"/>
                      <a:pt x="10" y="85"/>
                      <a:pt x="11" y="83"/>
                    </a:cubicBezTo>
                    <a:cubicBezTo>
                      <a:pt x="12" y="82"/>
                      <a:pt x="13" y="80"/>
                      <a:pt x="14" y="78"/>
                    </a:cubicBezTo>
                    <a:cubicBezTo>
                      <a:pt x="16" y="74"/>
                      <a:pt x="18" y="71"/>
                      <a:pt x="21" y="67"/>
                    </a:cubicBezTo>
                    <a:cubicBezTo>
                      <a:pt x="26" y="59"/>
                      <a:pt x="33" y="51"/>
                      <a:pt x="40" y="43"/>
                    </a:cubicBezTo>
                    <a:cubicBezTo>
                      <a:pt x="48" y="35"/>
                      <a:pt x="56" y="29"/>
                      <a:pt x="63" y="23"/>
                    </a:cubicBezTo>
                    <a:cubicBezTo>
                      <a:pt x="67" y="20"/>
                      <a:pt x="71" y="18"/>
                      <a:pt x="74" y="15"/>
                    </a:cubicBezTo>
                    <a:cubicBezTo>
                      <a:pt x="76" y="14"/>
                      <a:pt x="78" y="13"/>
                      <a:pt x="80" y="12"/>
                    </a:cubicBezTo>
                    <a:cubicBezTo>
                      <a:pt x="81" y="11"/>
                      <a:pt x="83" y="10"/>
                      <a:pt x="84" y="10"/>
                    </a:cubicBezTo>
                    <a:cubicBezTo>
                      <a:pt x="88" y="8"/>
                      <a:pt x="91" y="7"/>
                      <a:pt x="93" y="5"/>
                    </a:cubicBezTo>
                    <a:cubicBezTo>
                      <a:pt x="96" y="4"/>
                      <a:pt x="98" y="3"/>
                      <a:pt x="100" y="2"/>
                    </a:cubicBezTo>
                    <a:cubicBezTo>
                      <a:pt x="101" y="2"/>
                      <a:pt x="103" y="1"/>
                      <a:pt x="104" y="1"/>
                    </a:cubicBezTo>
                    <a:cubicBezTo>
                      <a:pt x="105" y="0"/>
                      <a:pt x="106" y="0"/>
                      <a:pt x="10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9" name="Freeform 51">
                <a:extLst>
                  <a:ext uri="{FF2B5EF4-FFF2-40B4-BE49-F238E27FC236}">
                    <a16:creationId xmlns:a16="http://schemas.microsoft.com/office/drawing/2014/main" id="{EDCE70F9-5A90-80D0-BD2B-8DBC9497C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010"/>
                <a:ext cx="63" cy="18"/>
              </a:xfrm>
              <a:custGeom>
                <a:avLst/>
                <a:gdLst>
                  <a:gd name="T0" fmla="*/ 0 w 38"/>
                  <a:gd name="T1" fmla="*/ 11 h 11"/>
                  <a:gd name="T2" fmla="*/ 4 w 38"/>
                  <a:gd name="T3" fmla="*/ 6 h 11"/>
                  <a:gd name="T4" fmla="*/ 18 w 38"/>
                  <a:gd name="T5" fmla="*/ 0 h 11"/>
                  <a:gd name="T6" fmla="*/ 33 w 38"/>
                  <a:gd name="T7" fmla="*/ 3 h 11"/>
                  <a:gd name="T8" fmla="*/ 38 w 38"/>
                  <a:gd name="T9" fmla="*/ 6 h 11"/>
                  <a:gd name="T10" fmla="*/ 32 w 38"/>
                  <a:gd name="T11" fmla="*/ 4 h 11"/>
                  <a:gd name="T12" fmla="*/ 18 w 38"/>
                  <a:gd name="T13" fmla="*/ 2 h 11"/>
                  <a:gd name="T14" fmla="*/ 4 w 38"/>
                  <a:gd name="T15" fmla="*/ 6 h 11"/>
                  <a:gd name="T16" fmla="*/ 0 w 3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11">
                    <a:moveTo>
                      <a:pt x="0" y="11"/>
                    </a:moveTo>
                    <a:cubicBezTo>
                      <a:pt x="0" y="11"/>
                      <a:pt x="1" y="8"/>
                      <a:pt x="4" y="6"/>
                    </a:cubicBezTo>
                    <a:cubicBezTo>
                      <a:pt x="7" y="3"/>
                      <a:pt x="12" y="0"/>
                      <a:pt x="18" y="0"/>
                    </a:cubicBezTo>
                    <a:cubicBezTo>
                      <a:pt x="24" y="0"/>
                      <a:pt x="29" y="2"/>
                      <a:pt x="33" y="3"/>
                    </a:cubicBezTo>
                    <a:cubicBezTo>
                      <a:pt x="36" y="4"/>
                      <a:pt x="38" y="6"/>
                      <a:pt x="38" y="6"/>
                    </a:cubicBezTo>
                    <a:cubicBezTo>
                      <a:pt x="38" y="6"/>
                      <a:pt x="36" y="5"/>
                      <a:pt x="32" y="4"/>
                    </a:cubicBezTo>
                    <a:cubicBezTo>
                      <a:pt x="29" y="3"/>
                      <a:pt x="24" y="1"/>
                      <a:pt x="18" y="2"/>
                    </a:cubicBezTo>
                    <a:cubicBezTo>
                      <a:pt x="12" y="2"/>
                      <a:pt x="7" y="4"/>
                      <a:pt x="4" y="6"/>
                    </a:cubicBezTo>
                    <a:cubicBezTo>
                      <a:pt x="2" y="9"/>
                      <a:pt x="1" y="11"/>
                      <a:pt x="0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0" name="Freeform 52">
                <a:extLst>
                  <a:ext uri="{FF2B5EF4-FFF2-40B4-BE49-F238E27FC236}">
                    <a16:creationId xmlns:a16="http://schemas.microsoft.com/office/drawing/2014/main" id="{44F5156E-4B44-8D81-410E-E0495333F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7" y="3000"/>
                <a:ext cx="11" cy="44"/>
              </a:xfrm>
              <a:custGeom>
                <a:avLst/>
                <a:gdLst>
                  <a:gd name="T0" fmla="*/ 1 w 7"/>
                  <a:gd name="T1" fmla="*/ 26 h 27"/>
                  <a:gd name="T2" fmla="*/ 5 w 7"/>
                  <a:gd name="T3" fmla="*/ 14 h 27"/>
                  <a:gd name="T4" fmla="*/ 4 w 7"/>
                  <a:gd name="T5" fmla="*/ 0 h 27"/>
                  <a:gd name="T6" fmla="*/ 6 w 7"/>
                  <a:gd name="T7" fmla="*/ 4 h 27"/>
                  <a:gd name="T8" fmla="*/ 6 w 7"/>
                  <a:gd name="T9" fmla="*/ 14 h 27"/>
                  <a:gd name="T10" fmla="*/ 3 w 7"/>
                  <a:gd name="T11" fmla="*/ 23 h 27"/>
                  <a:gd name="T12" fmla="*/ 1 w 7"/>
                  <a:gd name="T13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7">
                    <a:moveTo>
                      <a:pt x="1" y="26"/>
                    </a:moveTo>
                    <a:cubicBezTo>
                      <a:pt x="0" y="26"/>
                      <a:pt x="4" y="21"/>
                      <a:pt x="5" y="14"/>
                    </a:cubicBezTo>
                    <a:cubicBezTo>
                      <a:pt x="6" y="6"/>
                      <a:pt x="3" y="0"/>
                      <a:pt x="4" y="0"/>
                    </a:cubicBezTo>
                    <a:cubicBezTo>
                      <a:pt x="4" y="0"/>
                      <a:pt x="5" y="1"/>
                      <a:pt x="6" y="4"/>
                    </a:cubicBezTo>
                    <a:cubicBezTo>
                      <a:pt x="6" y="6"/>
                      <a:pt x="7" y="10"/>
                      <a:pt x="6" y="14"/>
                    </a:cubicBezTo>
                    <a:cubicBezTo>
                      <a:pt x="6" y="18"/>
                      <a:pt x="5" y="21"/>
                      <a:pt x="3" y="23"/>
                    </a:cubicBezTo>
                    <a:cubicBezTo>
                      <a:pt x="2" y="25"/>
                      <a:pt x="1" y="27"/>
                      <a:pt x="1" y="2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1" name="Freeform 53">
                <a:extLst>
                  <a:ext uri="{FF2B5EF4-FFF2-40B4-BE49-F238E27FC236}">
                    <a16:creationId xmlns:a16="http://schemas.microsoft.com/office/drawing/2014/main" id="{5EDB0E81-2ABD-02DB-EF2B-5CDD69AE2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" y="3260"/>
                <a:ext cx="229" cy="193"/>
              </a:xfrm>
              <a:custGeom>
                <a:avLst/>
                <a:gdLst>
                  <a:gd name="T0" fmla="*/ 0 w 139"/>
                  <a:gd name="T1" fmla="*/ 0 h 117"/>
                  <a:gd name="T2" fmla="*/ 32 w 139"/>
                  <a:gd name="T3" fmla="*/ 117 h 117"/>
                  <a:gd name="T4" fmla="*/ 110 w 139"/>
                  <a:gd name="T5" fmla="*/ 117 h 117"/>
                  <a:gd name="T6" fmla="*/ 139 w 139"/>
                  <a:gd name="T7" fmla="*/ 0 h 117"/>
                  <a:gd name="T8" fmla="*/ 0 w 139"/>
                  <a:gd name="T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17">
                    <a:moveTo>
                      <a:pt x="0" y="0"/>
                    </a:moveTo>
                    <a:cubicBezTo>
                      <a:pt x="2" y="38"/>
                      <a:pt x="14" y="78"/>
                      <a:pt x="32" y="117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27" y="78"/>
                      <a:pt x="138" y="39"/>
                      <a:pt x="13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2" name="Oval 54">
                <a:extLst>
                  <a:ext uri="{FF2B5EF4-FFF2-40B4-BE49-F238E27FC236}">
                    <a16:creationId xmlns:a16="http://schemas.microsoft.com/office/drawing/2014/main" id="{FF4ECA54-99D7-BD0D-FD8D-1DFFED9381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8" y="3362"/>
                <a:ext cx="190" cy="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3" name="Oval 55">
                <a:extLst>
                  <a:ext uri="{FF2B5EF4-FFF2-40B4-BE49-F238E27FC236}">
                    <a16:creationId xmlns:a16="http://schemas.microsoft.com/office/drawing/2014/main" id="{FB258440-7795-D6B4-0017-6A0560FB71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" y="3385"/>
                <a:ext cx="176" cy="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4" name="Oval 56">
                <a:extLst>
                  <a:ext uri="{FF2B5EF4-FFF2-40B4-BE49-F238E27FC236}">
                    <a16:creationId xmlns:a16="http://schemas.microsoft.com/office/drawing/2014/main" id="{D0525C03-0AF0-70FF-64C5-8C6C35AB1B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" y="3301"/>
                <a:ext cx="4" cy="59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5" name="Oval 57">
                <a:extLst>
                  <a:ext uri="{FF2B5EF4-FFF2-40B4-BE49-F238E27FC236}">
                    <a16:creationId xmlns:a16="http://schemas.microsoft.com/office/drawing/2014/main" id="{C301CA40-C625-8915-050F-3CE036A929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" y="3301"/>
                <a:ext cx="1" cy="61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6" name="Oval 58">
                <a:extLst>
                  <a:ext uri="{FF2B5EF4-FFF2-40B4-BE49-F238E27FC236}">
                    <a16:creationId xmlns:a16="http://schemas.microsoft.com/office/drawing/2014/main" id="{410B526E-D083-CB27-9C3B-47DF3EC69A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5" y="3301"/>
                <a:ext cx="3" cy="63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7" name="Oval 59">
                <a:extLst>
                  <a:ext uri="{FF2B5EF4-FFF2-40B4-BE49-F238E27FC236}">
                    <a16:creationId xmlns:a16="http://schemas.microsoft.com/office/drawing/2014/main" id="{65A33ED7-9206-CD42-B733-17BF7ED6AB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2" y="3299"/>
                <a:ext cx="222" cy="4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8" name="Freeform 60">
                <a:extLst>
                  <a:ext uri="{FF2B5EF4-FFF2-40B4-BE49-F238E27FC236}">
                    <a16:creationId xmlns:a16="http://schemas.microsoft.com/office/drawing/2014/main" id="{0071A58A-515D-2E3E-024B-2F595C6C4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6" y="2904"/>
                <a:ext cx="20" cy="17"/>
              </a:xfrm>
              <a:custGeom>
                <a:avLst/>
                <a:gdLst>
                  <a:gd name="T0" fmla="*/ 12 w 12"/>
                  <a:gd name="T1" fmla="*/ 9 h 10"/>
                  <a:gd name="T2" fmla="*/ 5 w 12"/>
                  <a:gd name="T3" fmla="*/ 5 h 10"/>
                  <a:gd name="T4" fmla="*/ 0 w 12"/>
                  <a:gd name="T5" fmla="*/ 0 h 10"/>
                  <a:gd name="T6" fmla="*/ 7 w 12"/>
                  <a:gd name="T7" fmla="*/ 4 h 10"/>
                  <a:gd name="T8" fmla="*/ 12 w 12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12" y="9"/>
                    </a:moveTo>
                    <a:cubicBezTo>
                      <a:pt x="11" y="10"/>
                      <a:pt x="9" y="8"/>
                      <a:pt x="5" y="5"/>
                    </a:cubicBezTo>
                    <a:cubicBezTo>
                      <a:pt x="2" y="3"/>
                      <a:pt x="0" y="0"/>
                      <a:pt x="0" y="0"/>
                    </a:cubicBezTo>
                    <a:cubicBezTo>
                      <a:pt x="1" y="0"/>
                      <a:pt x="3" y="1"/>
                      <a:pt x="7" y="4"/>
                    </a:cubicBezTo>
                    <a:cubicBezTo>
                      <a:pt x="10" y="6"/>
                      <a:pt x="12" y="9"/>
                      <a:pt x="12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9" name="Freeform 61">
                <a:extLst>
                  <a:ext uri="{FF2B5EF4-FFF2-40B4-BE49-F238E27FC236}">
                    <a16:creationId xmlns:a16="http://schemas.microsoft.com/office/drawing/2014/main" id="{52AA6490-E0D3-D518-780E-337C2A515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0" y="2606"/>
                <a:ext cx="158" cy="572"/>
              </a:xfrm>
              <a:custGeom>
                <a:avLst/>
                <a:gdLst>
                  <a:gd name="T0" fmla="*/ 95 w 96"/>
                  <a:gd name="T1" fmla="*/ 63 h 347"/>
                  <a:gd name="T2" fmla="*/ 92 w 96"/>
                  <a:gd name="T3" fmla="*/ 27 h 347"/>
                  <a:gd name="T4" fmla="*/ 68 w 96"/>
                  <a:gd name="T5" fmla="*/ 3 h 347"/>
                  <a:gd name="T6" fmla="*/ 33 w 96"/>
                  <a:gd name="T7" fmla="*/ 20 h 347"/>
                  <a:gd name="T8" fmla="*/ 21 w 96"/>
                  <a:gd name="T9" fmla="*/ 59 h 347"/>
                  <a:gd name="T10" fmla="*/ 4 w 96"/>
                  <a:gd name="T11" fmla="*/ 339 h 347"/>
                  <a:gd name="T12" fmla="*/ 59 w 96"/>
                  <a:gd name="T13" fmla="*/ 347 h 347"/>
                  <a:gd name="T14" fmla="*/ 95 w 96"/>
                  <a:gd name="T15" fmla="*/ 6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347">
                    <a:moveTo>
                      <a:pt x="95" y="63"/>
                    </a:moveTo>
                    <a:cubicBezTo>
                      <a:pt x="95" y="51"/>
                      <a:pt x="96" y="39"/>
                      <a:pt x="92" y="27"/>
                    </a:cubicBezTo>
                    <a:cubicBezTo>
                      <a:pt x="88" y="16"/>
                      <a:pt x="80" y="6"/>
                      <a:pt x="68" y="3"/>
                    </a:cubicBezTo>
                    <a:cubicBezTo>
                      <a:pt x="55" y="0"/>
                      <a:pt x="41" y="9"/>
                      <a:pt x="33" y="20"/>
                    </a:cubicBezTo>
                    <a:cubicBezTo>
                      <a:pt x="26" y="31"/>
                      <a:pt x="23" y="45"/>
                      <a:pt x="21" y="59"/>
                    </a:cubicBezTo>
                    <a:cubicBezTo>
                      <a:pt x="6" y="151"/>
                      <a:pt x="0" y="245"/>
                      <a:pt x="4" y="339"/>
                    </a:cubicBezTo>
                    <a:cubicBezTo>
                      <a:pt x="59" y="347"/>
                      <a:pt x="59" y="347"/>
                      <a:pt x="59" y="347"/>
                    </a:cubicBezTo>
                    <a:cubicBezTo>
                      <a:pt x="83" y="249"/>
                      <a:pt x="91" y="163"/>
                      <a:pt x="95" y="63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0" name="Freeform 62">
                <a:extLst>
                  <a:ext uri="{FF2B5EF4-FFF2-40B4-BE49-F238E27FC236}">
                    <a16:creationId xmlns:a16="http://schemas.microsoft.com/office/drawing/2014/main" id="{D50E9721-6FF4-1D30-2470-AB2CFF2E8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3" y="2611"/>
                <a:ext cx="65" cy="563"/>
              </a:xfrm>
              <a:custGeom>
                <a:avLst/>
                <a:gdLst>
                  <a:gd name="T0" fmla="*/ 40 w 40"/>
                  <a:gd name="T1" fmla="*/ 0 h 342"/>
                  <a:gd name="T2" fmla="*/ 40 w 40"/>
                  <a:gd name="T3" fmla="*/ 1 h 342"/>
                  <a:gd name="T4" fmla="*/ 39 w 40"/>
                  <a:gd name="T5" fmla="*/ 3 h 342"/>
                  <a:gd name="T6" fmla="*/ 36 w 40"/>
                  <a:gd name="T7" fmla="*/ 12 h 342"/>
                  <a:gd name="T8" fmla="*/ 33 w 40"/>
                  <a:gd name="T9" fmla="*/ 19 h 342"/>
                  <a:gd name="T10" fmla="*/ 30 w 40"/>
                  <a:gd name="T11" fmla="*/ 28 h 342"/>
                  <a:gd name="T12" fmla="*/ 27 w 40"/>
                  <a:gd name="T13" fmla="*/ 37 h 342"/>
                  <a:gd name="T14" fmla="*/ 24 w 40"/>
                  <a:gd name="T15" fmla="*/ 48 h 342"/>
                  <a:gd name="T16" fmla="*/ 14 w 40"/>
                  <a:gd name="T17" fmla="*/ 102 h 342"/>
                  <a:gd name="T18" fmla="*/ 7 w 40"/>
                  <a:gd name="T19" fmla="*/ 169 h 342"/>
                  <a:gd name="T20" fmla="*/ 3 w 40"/>
                  <a:gd name="T21" fmla="*/ 291 h 342"/>
                  <a:gd name="T22" fmla="*/ 1 w 40"/>
                  <a:gd name="T23" fmla="*/ 328 h 342"/>
                  <a:gd name="T24" fmla="*/ 1 w 40"/>
                  <a:gd name="T25" fmla="*/ 338 h 342"/>
                  <a:gd name="T26" fmla="*/ 0 w 40"/>
                  <a:gd name="T27" fmla="*/ 341 h 342"/>
                  <a:gd name="T28" fmla="*/ 0 w 40"/>
                  <a:gd name="T29" fmla="*/ 342 h 342"/>
                  <a:gd name="T30" fmla="*/ 0 w 40"/>
                  <a:gd name="T31" fmla="*/ 341 h 342"/>
                  <a:gd name="T32" fmla="*/ 0 w 40"/>
                  <a:gd name="T33" fmla="*/ 338 h 342"/>
                  <a:gd name="T34" fmla="*/ 1 w 40"/>
                  <a:gd name="T35" fmla="*/ 328 h 342"/>
                  <a:gd name="T36" fmla="*/ 2 w 40"/>
                  <a:gd name="T37" fmla="*/ 291 h 342"/>
                  <a:gd name="T38" fmla="*/ 6 w 40"/>
                  <a:gd name="T39" fmla="*/ 169 h 342"/>
                  <a:gd name="T40" fmla="*/ 12 w 40"/>
                  <a:gd name="T41" fmla="*/ 101 h 342"/>
                  <a:gd name="T42" fmla="*/ 23 w 40"/>
                  <a:gd name="T43" fmla="*/ 47 h 342"/>
                  <a:gd name="T44" fmla="*/ 26 w 40"/>
                  <a:gd name="T45" fmla="*/ 37 h 342"/>
                  <a:gd name="T46" fmla="*/ 29 w 40"/>
                  <a:gd name="T47" fmla="*/ 27 h 342"/>
                  <a:gd name="T48" fmla="*/ 32 w 40"/>
                  <a:gd name="T49" fmla="*/ 19 h 342"/>
                  <a:gd name="T50" fmla="*/ 35 w 40"/>
                  <a:gd name="T51" fmla="*/ 12 h 342"/>
                  <a:gd name="T52" fmla="*/ 39 w 40"/>
                  <a:gd name="T53" fmla="*/ 3 h 342"/>
                  <a:gd name="T54" fmla="*/ 40 w 40"/>
                  <a:gd name="T55" fmla="*/ 0 h 342"/>
                  <a:gd name="T56" fmla="*/ 40 w 40"/>
                  <a:gd name="T57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" h="342">
                    <a:moveTo>
                      <a:pt x="40" y="0"/>
                    </a:moveTo>
                    <a:cubicBezTo>
                      <a:pt x="40" y="0"/>
                      <a:pt x="40" y="0"/>
                      <a:pt x="40" y="1"/>
                    </a:cubicBezTo>
                    <a:cubicBezTo>
                      <a:pt x="40" y="1"/>
                      <a:pt x="40" y="2"/>
                      <a:pt x="39" y="3"/>
                    </a:cubicBezTo>
                    <a:cubicBezTo>
                      <a:pt x="38" y="5"/>
                      <a:pt x="37" y="8"/>
                      <a:pt x="36" y="12"/>
                    </a:cubicBezTo>
                    <a:cubicBezTo>
                      <a:pt x="35" y="14"/>
                      <a:pt x="34" y="17"/>
                      <a:pt x="33" y="19"/>
                    </a:cubicBezTo>
                    <a:cubicBezTo>
                      <a:pt x="32" y="22"/>
                      <a:pt x="31" y="25"/>
                      <a:pt x="30" y="28"/>
                    </a:cubicBezTo>
                    <a:cubicBezTo>
                      <a:pt x="29" y="30"/>
                      <a:pt x="28" y="34"/>
                      <a:pt x="27" y="37"/>
                    </a:cubicBezTo>
                    <a:cubicBezTo>
                      <a:pt x="26" y="40"/>
                      <a:pt x="25" y="44"/>
                      <a:pt x="24" y="48"/>
                    </a:cubicBezTo>
                    <a:cubicBezTo>
                      <a:pt x="20" y="63"/>
                      <a:pt x="17" y="81"/>
                      <a:pt x="14" y="102"/>
                    </a:cubicBezTo>
                    <a:cubicBezTo>
                      <a:pt x="11" y="122"/>
                      <a:pt x="9" y="145"/>
                      <a:pt x="7" y="169"/>
                    </a:cubicBezTo>
                    <a:cubicBezTo>
                      <a:pt x="5" y="217"/>
                      <a:pt x="4" y="260"/>
                      <a:pt x="3" y="291"/>
                    </a:cubicBezTo>
                    <a:cubicBezTo>
                      <a:pt x="2" y="307"/>
                      <a:pt x="2" y="320"/>
                      <a:pt x="1" y="328"/>
                    </a:cubicBezTo>
                    <a:cubicBezTo>
                      <a:pt x="1" y="333"/>
                      <a:pt x="1" y="336"/>
                      <a:pt x="1" y="338"/>
                    </a:cubicBezTo>
                    <a:cubicBezTo>
                      <a:pt x="1" y="340"/>
                      <a:pt x="0" y="340"/>
                      <a:pt x="0" y="341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0" y="342"/>
                      <a:pt x="0" y="342"/>
                      <a:pt x="0" y="341"/>
                    </a:cubicBezTo>
                    <a:cubicBezTo>
                      <a:pt x="0" y="340"/>
                      <a:pt x="0" y="340"/>
                      <a:pt x="0" y="338"/>
                    </a:cubicBezTo>
                    <a:cubicBezTo>
                      <a:pt x="0" y="336"/>
                      <a:pt x="0" y="333"/>
                      <a:pt x="1" y="328"/>
                    </a:cubicBezTo>
                    <a:cubicBezTo>
                      <a:pt x="1" y="320"/>
                      <a:pt x="1" y="307"/>
                      <a:pt x="2" y="291"/>
                    </a:cubicBezTo>
                    <a:cubicBezTo>
                      <a:pt x="3" y="260"/>
                      <a:pt x="3" y="217"/>
                      <a:pt x="6" y="169"/>
                    </a:cubicBezTo>
                    <a:cubicBezTo>
                      <a:pt x="7" y="145"/>
                      <a:pt x="9" y="122"/>
                      <a:pt x="12" y="101"/>
                    </a:cubicBezTo>
                    <a:cubicBezTo>
                      <a:pt x="15" y="81"/>
                      <a:pt x="19" y="63"/>
                      <a:pt x="23" y="47"/>
                    </a:cubicBezTo>
                    <a:cubicBezTo>
                      <a:pt x="24" y="44"/>
                      <a:pt x="25" y="40"/>
                      <a:pt x="26" y="37"/>
                    </a:cubicBezTo>
                    <a:cubicBezTo>
                      <a:pt x="27" y="33"/>
                      <a:pt x="28" y="30"/>
                      <a:pt x="29" y="27"/>
                    </a:cubicBezTo>
                    <a:cubicBezTo>
                      <a:pt x="30" y="24"/>
                      <a:pt x="31" y="21"/>
                      <a:pt x="32" y="19"/>
                    </a:cubicBezTo>
                    <a:cubicBezTo>
                      <a:pt x="33" y="16"/>
                      <a:pt x="34" y="14"/>
                      <a:pt x="35" y="12"/>
                    </a:cubicBezTo>
                    <a:cubicBezTo>
                      <a:pt x="36" y="8"/>
                      <a:pt x="38" y="5"/>
                      <a:pt x="39" y="3"/>
                    </a:cubicBezTo>
                    <a:cubicBezTo>
                      <a:pt x="39" y="2"/>
                      <a:pt x="40" y="1"/>
                      <a:pt x="40" y="0"/>
                    </a:cubicBezTo>
                    <a:cubicBezTo>
                      <a:pt x="40" y="0"/>
                      <a:pt x="40" y="0"/>
                      <a:pt x="4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1" name="Freeform 63">
                <a:extLst>
                  <a:ext uri="{FF2B5EF4-FFF2-40B4-BE49-F238E27FC236}">
                    <a16:creationId xmlns:a16="http://schemas.microsoft.com/office/drawing/2014/main" id="{1C7ADAAF-8391-C44E-6506-550C2FC31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7" y="2611"/>
                <a:ext cx="41" cy="542"/>
              </a:xfrm>
              <a:custGeom>
                <a:avLst/>
                <a:gdLst>
                  <a:gd name="T0" fmla="*/ 12 w 25"/>
                  <a:gd name="T1" fmla="*/ 0 h 329"/>
                  <a:gd name="T2" fmla="*/ 19 w 25"/>
                  <a:gd name="T3" fmla="*/ 11 h 329"/>
                  <a:gd name="T4" fmla="*/ 24 w 25"/>
                  <a:gd name="T5" fmla="*/ 46 h 329"/>
                  <a:gd name="T6" fmla="*/ 16 w 25"/>
                  <a:gd name="T7" fmla="*/ 164 h 329"/>
                  <a:gd name="T8" fmla="*/ 5 w 25"/>
                  <a:gd name="T9" fmla="*/ 281 h 329"/>
                  <a:gd name="T10" fmla="*/ 1 w 25"/>
                  <a:gd name="T11" fmla="*/ 316 h 329"/>
                  <a:gd name="T12" fmla="*/ 0 w 25"/>
                  <a:gd name="T13" fmla="*/ 326 h 329"/>
                  <a:gd name="T14" fmla="*/ 0 w 25"/>
                  <a:gd name="T15" fmla="*/ 329 h 329"/>
                  <a:gd name="T16" fmla="*/ 0 w 25"/>
                  <a:gd name="T17" fmla="*/ 329 h 329"/>
                  <a:gd name="T18" fmla="*/ 0 w 25"/>
                  <a:gd name="T19" fmla="*/ 328 h 329"/>
                  <a:gd name="T20" fmla="*/ 0 w 25"/>
                  <a:gd name="T21" fmla="*/ 326 h 329"/>
                  <a:gd name="T22" fmla="*/ 1 w 25"/>
                  <a:gd name="T23" fmla="*/ 316 h 329"/>
                  <a:gd name="T24" fmla="*/ 4 w 25"/>
                  <a:gd name="T25" fmla="*/ 281 h 329"/>
                  <a:gd name="T26" fmla="*/ 14 w 25"/>
                  <a:gd name="T27" fmla="*/ 164 h 329"/>
                  <a:gd name="T28" fmla="*/ 23 w 25"/>
                  <a:gd name="T29" fmla="*/ 46 h 329"/>
                  <a:gd name="T30" fmla="*/ 18 w 25"/>
                  <a:gd name="T31" fmla="*/ 11 h 329"/>
                  <a:gd name="T32" fmla="*/ 12 w 25"/>
                  <a:gd name="T33" fmla="*/ 0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329">
                    <a:moveTo>
                      <a:pt x="12" y="0"/>
                    </a:moveTo>
                    <a:cubicBezTo>
                      <a:pt x="12" y="0"/>
                      <a:pt x="16" y="3"/>
                      <a:pt x="19" y="11"/>
                    </a:cubicBezTo>
                    <a:cubicBezTo>
                      <a:pt x="22" y="19"/>
                      <a:pt x="25" y="31"/>
                      <a:pt x="24" y="46"/>
                    </a:cubicBezTo>
                    <a:cubicBezTo>
                      <a:pt x="23" y="76"/>
                      <a:pt x="20" y="118"/>
                      <a:pt x="16" y="164"/>
                    </a:cubicBezTo>
                    <a:cubicBezTo>
                      <a:pt x="13" y="210"/>
                      <a:pt x="9" y="251"/>
                      <a:pt x="5" y="281"/>
                    </a:cubicBezTo>
                    <a:cubicBezTo>
                      <a:pt x="4" y="296"/>
                      <a:pt x="2" y="308"/>
                      <a:pt x="1" y="316"/>
                    </a:cubicBezTo>
                    <a:cubicBezTo>
                      <a:pt x="1" y="320"/>
                      <a:pt x="0" y="324"/>
                      <a:pt x="0" y="326"/>
                    </a:cubicBezTo>
                    <a:cubicBezTo>
                      <a:pt x="0" y="327"/>
                      <a:pt x="0" y="328"/>
                      <a:pt x="0" y="329"/>
                    </a:cubicBezTo>
                    <a:cubicBezTo>
                      <a:pt x="0" y="329"/>
                      <a:pt x="0" y="329"/>
                      <a:pt x="0" y="329"/>
                    </a:cubicBezTo>
                    <a:cubicBezTo>
                      <a:pt x="0" y="329"/>
                      <a:pt x="0" y="329"/>
                      <a:pt x="0" y="328"/>
                    </a:cubicBezTo>
                    <a:cubicBezTo>
                      <a:pt x="0" y="328"/>
                      <a:pt x="0" y="327"/>
                      <a:pt x="0" y="326"/>
                    </a:cubicBezTo>
                    <a:cubicBezTo>
                      <a:pt x="0" y="324"/>
                      <a:pt x="0" y="320"/>
                      <a:pt x="1" y="316"/>
                    </a:cubicBezTo>
                    <a:cubicBezTo>
                      <a:pt x="1" y="308"/>
                      <a:pt x="3" y="296"/>
                      <a:pt x="4" y="281"/>
                    </a:cubicBezTo>
                    <a:cubicBezTo>
                      <a:pt x="7" y="251"/>
                      <a:pt x="11" y="209"/>
                      <a:pt x="14" y="164"/>
                    </a:cubicBezTo>
                    <a:cubicBezTo>
                      <a:pt x="18" y="118"/>
                      <a:pt x="21" y="76"/>
                      <a:pt x="23" y="46"/>
                    </a:cubicBezTo>
                    <a:cubicBezTo>
                      <a:pt x="23" y="31"/>
                      <a:pt x="21" y="19"/>
                      <a:pt x="18" y="11"/>
                    </a:cubicBezTo>
                    <a:cubicBezTo>
                      <a:pt x="15" y="3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2" name="Freeform 64">
                <a:extLst>
                  <a:ext uri="{FF2B5EF4-FFF2-40B4-BE49-F238E27FC236}">
                    <a16:creationId xmlns:a16="http://schemas.microsoft.com/office/drawing/2014/main" id="{888D88BF-73A9-A0F9-3F97-ADC6C16D6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6" y="2830"/>
                <a:ext cx="33" cy="13"/>
              </a:xfrm>
              <a:custGeom>
                <a:avLst/>
                <a:gdLst>
                  <a:gd name="T0" fmla="*/ 20 w 20"/>
                  <a:gd name="T1" fmla="*/ 8 h 8"/>
                  <a:gd name="T2" fmla="*/ 10 w 20"/>
                  <a:gd name="T3" fmla="*/ 5 h 8"/>
                  <a:gd name="T4" fmla="*/ 0 w 20"/>
                  <a:gd name="T5" fmla="*/ 1 h 8"/>
                  <a:gd name="T6" fmla="*/ 10 w 20"/>
                  <a:gd name="T7" fmla="*/ 3 h 8"/>
                  <a:gd name="T8" fmla="*/ 20 w 20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8">
                    <a:moveTo>
                      <a:pt x="20" y="8"/>
                    </a:moveTo>
                    <a:cubicBezTo>
                      <a:pt x="20" y="8"/>
                      <a:pt x="15" y="7"/>
                      <a:pt x="10" y="5"/>
                    </a:cubicBezTo>
                    <a:cubicBezTo>
                      <a:pt x="4" y="3"/>
                      <a:pt x="0" y="1"/>
                      <a:pt x="0" y="1"/>
                    </a:cubicBezTo>
                    <a:cubicBezTo>
                      <a:pt x="0" y="0"/>
                      <a:pt x="5" y="1"/>
                      <a:pt x="10" y="3"/>
                    </a:cubicBezTo>
                    <a:cubicBezTo>
                      <a:pt x="16" y="5"/>
                      <a:pt x="20" y="7"/>
                      <a:pt x="20" y="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3" name="Freeform 65">
                <a:extLst>
                  <a:ext uri="{FF2B5EF4-FFF2-40B4-BE49-F238E27FC236}">
                    <a16:creationId xmlns:a16="http://schemas.microsoft.com/office/drawing/2014/main" id="{E8BB7041-1A19-6EA0-6115-990499D0E6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6" y="2751"/>
                <a:ext cx="35" cy="17"/>
              </a:xfrm>
              <a:custGeom>
                <a:avLst/>
                <a:gdLst>
                  <a:gd name="T0" fmla="*/ 21 w 21"/>
                  <a:gd name="T1" fmla="*/ 0 h 10"/>
                  <a:gd name="T2" fmla="*/ 11 w 21"/>
                  <a:gd name="T3" fmla="*/ 6 h 10"/>
                  <a:gd name="T4" fmla="*/ 0 w 21"/>
                  <a:gd name="T5" fmla="*/ 9 h 10"/>
                  <a:gd name="T6" fmla="*/ 10 w 21"/>
                  <a:gd name="T7" fmla="*/ 4 h 10"/>
                  <a:gd name="T8" fmla="*/ 21 w 2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0">
                    <a:moveTo>
                      <a:pt x="21" y="0"/>
                    </a:moveTo>
                    <a:cubicBezTo>
                      <a:pt x="21" y="1"/>
                      <a:pt x="17" y="3"/>
                      <a:pt x="11" y="6"/>
                    </a:cubicBezTo>
                    <a:cubicBezTo>
                      <a:pt x="5" y="8"/>
                      <a:pt x="0" y="10"/>
                      <a:pt x="0" y="9"/>
                    </a:cubicBezTo>
                    <a:cubicBezTo>
                      <a:pt x="0" y="9"/>
                      <a:pt x="4" y="6"/>
                      <a:pt x="10" y="4"/>
                    </a:cubicBezTo>
                    <a:cubicBezTo>
                      <a:pt x="16" y="1"/>
                      <a:pt x="20" y="0"/>
                      <a:pt x="2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4" name="Freeform 66">
                <a:extLst>
                  <a:ext uri="{FF2B5EF4-FFF2-40B4-BE49-F238E27FC236}">
                    <a16:creationId xmlns:a16="http://schemas.microsoft.com/office/drawing/2014/main" id="{E08B7FF1-7E28-8829-6BA2-BE639F0D4C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8" y="2674"/>
                <a:ext cx="26" cy="5"/>
              </a:xfrm>
              <a:custGeom>
                <a:avLst/>
                <a:gdLst>
                  <a:gd name="T0" fmla="*/ 16 w 16"/>
                  <a:gd name="T1" fmla="*/ 2 h 3"/>
                  <a:gd name="T2" fmla="*/ 8 w 16"/>
                  <a:gd name="T3" fmla="*/ 2 h 3"/>
                  <a:gd name="T4" fmla="*/ 0 w 16"/>
                  <a:gd name="T5" fmla="*/ 1 h 3"/>
                  <a:gd name="T6" fmla="*/ 8 w 16"/>
                  <a:gd name="T7" fmla="*/ 0 h 3"/>
                  <a:gd name="T8" fmla="*/ 16 w 16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">
                    <a:moveTo>
                      <a:pt x="16" y="2"/>
                    </a:moveTo>
                    <a:cubicBezTo>
                      <a:pt x="16" y="2"/>
                      <a:pt x="13" y="3"/>
                      <a:pt x="8" y="2"/>
                    </a:cubicBezTo>
                    <a:cubicBezTo>
                      <a:pt x="4" y="2"/>
                      <a:pt x="0" y="1"/>
                      <a:pt x="0" y="1"/>
                    </a:cubicBezTo>
                    <a:cubicBezTo>
                      <a:pt x="0" y="0"/>
                      <a:pt x="4" y="0"/>
                      <a:pt x="8" y="0"/>
                    </a:cubicBezTo>
                    <a:cubicBezTo>
                      <a:pt x="13" y="1"/>
                      <a:pt x="16" y="1"/>
                      <a:pt x="16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5" name="Freeform 67">
                <a:extLst>
                  <a:ext uri="{FF2B5EF4-FFF2-40B4-BE49-F238E27FC236}">
                    <a16:creationId xmlns:a16="http://schemas.microsoft.com/office/drawing/2014/main" id="{799449BE-1605-2A5E-7F54-E7AA7E743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7" y="2605"/>
                <a:ext cx="17" cy="24"/>
              </a:xfrm>
              <a:custGeom>
                <a:avLst/>
                <a:gdLst>
                  <a:gd name="T0" fmla="*/ 9 w 10"/>
                  <a:gd name="T1" fmla="*/ 15 h 15"/>
                  <a:gd name="T2" fmla="*/ 4 w 10"/>
                  <a:gd name="T3" fmla="*/ 8 h 15"/>
                  <a:gd name="T4" fmla="*/ 0 w 10"/>
                  <a:gd name="T5" fmla="*/ 1 h 15"/>
                  <a:gd name="T6" fmla="*/ 5 w 10"/>
                  <a:gd name="T7" fmla="*/ 7 h 15"/>
                  <a:gd name="T8" fmla="*/ 9 w 10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">
                    <a:moveTo>
                      <a:pt x="9" y="15"/>
                    </a:moveTo>
                    <a:cubicBezTo>
                      <a:pt x="9" y="15"/>
                      <a:pt x="6" y="12"/>
                      <a:pt x="4" y="8"/>
                    </a:cubicBezTo>
                    <a:cubicBezTo>
                      <a:pt x="1" y="4"/>
                      <a:pt x="0" y="1"/>
                      <a:pt x="0" y="1"/>
                    </a:cubicBezTo>
                    <a:cubicBezTo>
                      <a:pt x="0" y="0"/>
                      <a:pt x="3" y="3"/>
                      <a:pt x="5" y="7"/>
                    </a:cubicBezTo>
                    <a:cubicBezTo>
                      <a:pt x="8" y="11"/>
                      <a:pt x="10" y="15"/>
                      <a:pt x="9" y="1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6" name="Freeform 68">
                <a:extLst>
                  <a:ext uri="{FF2B5EF4-FFF2-40B4-BE49-F238E27FC236}">
                    <a16:creationId xmlns:a16="http://schemas.microsoft.com/office/drawing/2014/main" id="{25CEECFB-26C1-F43B-19FF-4583E256C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6" y="2672"/>
                <a:ext cx="25" cy="3"/>
              </a:xfrm>
              <a:custGeom>
                <a:avLst/>
                <a:gdLst>
                  <a:gd name="T0" fmla="*/ 15 w 15"/>
                  <a:gd name="T1" fmla="*/ 1 h 2"/>
                  <a:gd name="T2" fmla="*/ 8 w 15"/>
                  <a:gd name="T3" fmla="*/ 2 h 2"/>
                  <a:gd name="T4" fmla="*/ 0 w 15"/>
                  <a:gd name="T5" fmla="*/ 1 h 2"/>
                  <a:gd name="T6" fmla="*/ 8 w 15"/>
                  <a:gd name="T7" fmla="*/ 0 h 2"/>
                  <a:gd name="T8" fmla="*/ 15 w 15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">
                    <a:moveTo>
                      <a:pt x="15" y="1"/>
                    </a:moveTo>
                    <a:cubicBezTo>
                      <a:pt x="15" y="2"/>
                      <a:pt x="12" y="2"/>
                      <a:pt x="8" y="2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3" y="0"/>
                      <a:pt x="8" y="0"/>
                    </a:cubicBezTo>
                    <a:cubicBezTo>
                      <a:pt x="12" y="0"/>
                      <a:pt x="15" y="1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7" name="Freeform 69">
                <a:extLst>
                  <a:ext uri="{FF2B5EF4-FFF2-40B4-BE49-F238E27FC236}">
                    <a16:creationId xmlns:a16="http://schemas.microsoft.com/office/drawing/2014/main" id="{120CB08D-78D9-EFE2-6F55-A8799C669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2753"/>
                <a:ext cx="26" cy="13"/>
              </a:xfrm>
              <a:custGeom>
                <a:avLst/>
                <a:gdLst>
                  <a:gd name="T0" fmla="*/ 16 w 16"/>
                  <a:gd name="T1" fmla="*/ 7 h 8"/>
                  <a:gd name="T2" fmla="*/ 8 w 16"/>
                  <a:gd name="T3" fmla="*/ 5 h 8"/>
                  <a:gd name="T4" fmla="*/ 1 w 16"/>
                  <a:gd name="T5" fmla="*/ 1 h 8"/>
                  <a:gd name="T6" fmla="*/ 9 w 16"/>
                  <a:gd name="T7" fmla="*/ 3 h 8"/>
                  <a:gd name="T8" fmla="*/ 16 w 16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8">
                    <a:moveTo>
                      <a:pt x="16" y="7"/>
                    </a:moveTo>
                    <a:cubicBezTo>
                      <a:pt x="16" y="8"/>
                      <a:pt x="12" y="7"/>
                      <a:pt x="8" y="5"/>
                    </a:cubicBezTo>
                    <a:cubicBezTo>
                      <a:pt x="4" y="3"/>
                      <a:pt x="0" y="1"/>
                      <a:pt x="1" y="1"/>
                    </a:cubicBezTo>
                    <a:cubicBezTo>
                      <a:pt x="1" y="0"/>
                      <a:pt x="4" y="1"/>
                      <a:pt x="9" y="3"/>
                    </a:cubicBezTo>
                    <a:cubicBezTo>
                      <a:pt x="13" y="5"/>
                      <a:pt x="16" y="7"/>
                      <a:pt x="16" y="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8" name="Freeform 70">
                <a:extLst>
                  <a:ext uri="{FF2B5EF4-FFF2-40B4-BE49-F238E27FC236}">
                    <a16:creationId xmlns:a16="http://schemas.microsoft.com/office/drawing/2014/main" id="{4BE4FA17-375E-4645-137B-3981AEFBD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2840"/>
                <a:ext cx="25" cy="7"/>
              </a:xfrm>
              <a:custGeom>
                <a:avLst/>
                <a:gdLst>
                  <a:gd name="T0" fmla="*/ 15 w 15"/>
                  <a:gd name="T1" fmla="*/ 0 h 4"/>
                  <a:gd name="T2" fmla="*/ 8 w 15"/>
                  <a:gd name="T3" fmla="*/ 3 h 4"/>
                  <a:gd name="T4" fmla="*/ 0 w 15"/>
                  <a:gd name="T5" fmla="*/ 3 h 4"/>
                  <a:gd name="T6" fmla="*/ 7 w 15"/>
                  <a:gd name="T7" fmla="*/ 1 h 4"/>
                  <a:gd name="T8" fmla="*/ 15 w 1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">
                    <a:moveTo>
                      <a:pt x="15" y="0"/>
                    </a:moveTo>
                    <a:cubicBezTo>
                      <a:pt x="15" y="1"/>
                      <a:pt x="12" y="2"/>
                      <a:pt x="8" y="3"/>
                    </a:cubicBezTo>
                    <a:cubicBezTo>
                      <a:pt x="4" y="4"/>
                      <a:pt x="1" y="4"/>
                      <a:pt x="0" y="3"/>
                    </a:cubicBezTo>
                    <a:cubicBezTo>
                      <a:pt x="0" y="3"/>
                      <a:pt x="3" y="2"/>
                      <a:pt x="7" y="1"/>
                    </a:cubicBezTo>
                    <a:cubicBezTo>
                      <a:pt x="11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9" name="Freeform 71">
                <a:extLst>
                  <a:ext uri="{FF2B5EF4-FFF2-40B4-BE49-F238E27FC236}">
                    <a16:creationId xmlns:a16="http://schemas.microsoft.com/office/drawing/2014/main" id="{2B1A3AE5-6D64-054C-2660-A4D56E7B1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1" y="2964"/>
                <a:ext cx="27" cy="6"/>
              </a:xfrm>
              <a:custGeom>
                <a:avLst/>
                <a:gdLst>
                  <a:gd name="T0" fmla="*/ 15 w 16"/>
                  <a:gd name="T1" fmla="*/ 1 h 4"/>
                  <a:gd name="T2" fmla="*/ 8 w 16"/>
                  <a:gd name="T3" fmla="*/ 3 h 4"/>
                  <a:gd name="T4" fmla="*/ 0 w 16"/>
                  <a:gd name="T5" fmla="*/ 3 h 4"/>
                  <a:gd name="T6" fmla="*/ 8 w 16"/>
                  <a:gd name="T7" fmla="*/ 1 h 4"/>
                  <a:gd name="T8" fmla="*/ 15 w 16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4">
                    <a:moveTo>
                      <a:pt x="15" y="1"/>
                    </a:moveTo>
                    <a:cubicBezTo>
                      <a:pt x="16" y="1"/>
                      <a:pt x="12" y="2"/>
                      <a:pt x="8" y="3"/>
                    </a:cubicBezTo>
                    <a:cubicBezTo>
                      <a:pt x="4" y="4"/>
                      <a:pt x="0" y="4"/>
                      <a:pt x="0" y="3"/>
                    </a:cubicBezTo>
                    <a:cubicBezTo>
                      <a:pt x="0" y="3"/>
                      <a:pt x="4" y="2"/>
                      <a:pt x="8" y="1"/>
                    </a:cubicBezTo>
                    <a:cubicBezTo>
                      <a:pt x="12" y="0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0" name="Freeform 72">
                <a:extLst>
                  <a:ext uri="{FF2B5EF4-FFF2-40B4-BE49-F238E27FC236}">
                    <a16:creationId xmlns:a16="http://schemas.microsoft.com/office/drawing/2014/main" id="{2D311AF3-F2E3-C225-89EB-14F8CC04D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8" y="3033"/>
                <a:ext cx="22" cy="13"/>
              </a:xfrm>
              <a:custGeom>
                <a:avLst/>
                <a:gdLst>
                  <a:gd name="T0" fmla="*/ 13 w 13"/>
                  <a:gd name="T1" fmla="*/ 0 h 8"/>
                  <a:gd name="T2" fmla="*/ 7 w 13"/>
                  <a:gd name="T3" fmla="*/ 5 h 8"/>
                  <a:gd name="T4" fmla="*/ 0 w 13"/>
                  <a:gd name="T5" fmla="*/ 7 h 8"/>
                  <a:gd name="T6" fmla="*/ 6 w 13"/>
                  <a:gd name="T7" fmla="*/ 3 h 8"/>
                  <a:gd name="T8" fmla="*/ 13 w 13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8">
                    <a:moveTo>
                      <a:pt x="13" y="0"/>
                    </a:moveTo>
                    <a:cubicBezTo>
                      <a:pt x="13" y="1"/>
                      <a:pt x="11" y="3"/>
                      <a:pt x="7" y="5"/>
                    </a:cubicBezTo>
                    <a:cubicBezTo>
                      <a:pt x="3" y="7"/>
                      <a:pt x="0" y="8"/>
                      <a:pt x="0" y="7"/>
                    </a:cubicBezTo>
                    <a:cubicBezTo>
                      <a:pt x="0" y="7"/>
                      <a:pt x="3" y="5"/>
                      <a:pt x="6" y="3"/>
                    </a:cubicBezTo>
                    <a:cubicBezTo>
                      <a:pt x="10" y="1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1" name="Freeform 73">
                <a:extLst>
                  <a:ext uri="{FF2B5EF4-FFF2-40B4-BE49-F238E27FC236}">
                    <a16:creationId xmlns:a16="http://schemas.microsoft.com/office/drawing/2014/main" id="{BDF0A7A4-C074-7AB2-733C-909423179A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1" y="3085"/>
                <a:ext cx="16" cy="27"/>
              </a:xfrm>
              <a:custGeom>
                <a:avLst/>
                <a:gdLst>
                  <a:gd name="T0" fmla="*/ 9 w 10"/>
                  <a:gd name="T1" fmla="*/ 16 h 16"/>
                  <a:gd name="T2" fmla="*/ 4 w 10"/>
                  <a:gd name="T3" fmla="*/ 8 h 16"/>
                  <a:gd name="T4" fmla="*/ 0 w 10"/>
                  <a:gd name="T5" fmla="*/ 0 h 16"/>
                  <a:gd name="T6" fmla="*/ 6 w 10"/>
                  <a:gd name="T7" fmla="*/ 7 h 16"/>
                  <a:gd name="T8" fmla="*/ 9 w 10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6">
                    <a:moveTo>
                      <a:pt x="9" y="16"/>
                    </a:moveTo>
                    <a:cubicBezTo>
                      <a:pt x="9" y="16"/>
                      <a:pt x="6" y="13"/>
                      <a:pt x="4" y="8"/>
                    </a:cubicBezTo>
                    <a:cubicBezTo>
                      <a:pt x="1" y="4"/>
                      <a:pt x="0" y="0"/>
                      <a:pt x="0" y="0"/>
                    </a:cubicBezTo>
                    <a:cubicBezTo>
                      <a:pt x="1" y="0"/>
                      <a:pt x="3" y="3"/>
                      <a:pt x="6" y="7"/>
                    </a:cubicBezTo>
                    <a:cubicBezTo>
                      <a:pt x="8" y="12"/>
                      <a:pt x="10" y="15"/>
                      <a:pt x="9" y="1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2" name="Freeform 74">
                <a:extLst>
                  <a:ext uri="{FF2B5EF4-FFF2-40B4-BE49-F238E27FC236}">
                    <a16:creationId xmlns:a16="http://schemas.microsoft.com/office/drawing/2014/main" id="{E9EF0A49-A77F-325D-79B5-42616B4C1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9" y="2982"/>
                <a:ext cx="23" cy="23"/>
              </a:xfrm>
              <a:custGeom>
                <a:avLst/>
                <a:gdLst>
                  <a:gd name="T0" fmla="*/ 14 w 14"/>
                  <a:gd name="T1" fmla="*/ 0 h 14"/>
                  <a:gd name="T2" fmla="*/ 8 w 14"/>
                  <a:gd name="T3" fmla="*/ 7 h 14"/>
                  <a:gd name="T4" fmla="*/ 1 w 14"/>
                  <a:gd name="T5" fmla="*/ 13 h 14"/>
                  <a:gd name="T6" fmla="*/ 7 w 14"/>
                  <a:gd name="T7" fmla="*/ 6 h 14"/>
                  <a:gd name="T8" fmla="*/ 14 w 14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4">
                    <a:moveTo>
                      <a:pt x="14" y="0"/>
                    </a:moveTo>
                    <a:cubicBezTo>
                      <a:pt x="14" y="0"/>
                      <a:pt x="12" y="4"/>
                      <a:pt x="8" y="7"/>
                    </a:cubicBezTo>
                    <a:cubicBezTo>
                      <a:pt x="4" y="11"/>
                      <a:pt x="1" y="14"/>
                      <a:pt x="1" y="13"/>
                    </a:cubicBezTo>
                    <a:cubicBezTo>
                      <a:pt x="0" y="13"/>
                      <a:pt x="3" y="10"/>
                      <a:pt x="7" y="6"/>
                    </a:cubicBezTo>
                    <a:cubicBezTo>
                      <a:pt x="10" y="2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3" name="Freeform 75">
                <a:extLst>
                  <a:ext uri="{FF2B5EF4-FFF2-40B4-BE49-F238E27FC236}">
                    <a16:creationId xmlns:a16="http://schemas.microsoft.com/office/drawing/2014/main" id="{EA49CA63-C07E-C21B-D3DC-9C45604B2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2" y="2896"/>
                <a:ext cx="17" cy="18"/>
              </a:xfrm>
              <a:custGeom>
                <a:avLst/>
                <a:gdLst>
                  <a:gd name="T0" fmla="*/ 10 w 10"/>
                  <a:gd name="T1" fmla="*/ 11 h 11"/>
                  <a:gd name="T2" fmla="*/ 4 w 10"/>
                  <a:gd name="T3" fmla="*/ 6 h 11"/>
                  <a:gd name="T4" fmla="*/ 0 w 10"/>
                  <a:gd name="T5" fmla="*/ 0 h 11"/>
                  <a:gd name="T6" fmla="*/ 6 w 10"/>
                  <a:gd name="T7" fmla="*/ 5 h 11"/>
                  <a:gd name="T8" fmla="*/ 10 w 10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1">
                    <a:moveTo>
                      <a:pt x="10" y="11"/>
                    </a:moveTo>
                    <a:cubicBezTo>
                      <a:pt x="10" y="11"/>
                      <a:pt x="7" y="9"/>
                      <a:pt x="4" y="6"/>
                    </a:cubicBezTo>
                    <a:cubicBezTo>
                      <a:pt x="2" y="3"/>
                      <a:pt x="0" y="1"/>
                      <a:pt x="0" y="0"/>
                    </a:cubicBezTo>
                    <a:cubicBezTo>
                      <a:pt x="1" y="0"/>
                      <a:pt x="3" y="2"/>
                      <a:pt x="6" y="5"/>
                    </a:cubicBezTo>
                    <a:cubicBezTo>
                      <a:pt x="8" y="8"/>
                      <a:pt x="10" y="11"/>
                      <a:pt x="10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4" name="Freeform 76">
                <a:extLst>
                  <a:ext uri="{FF2B5EF4-FFF2-40B4-BE49-F238E27FC236}">
                    <a16:creationId xmlns:a16="http://schemas.microsoft.com/office/drawing/2014/main" id="{F079F248-99CF-AC50-8827-19C8447B2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1" y="2827"/>
                <a:ext cx="19" cy="21"/>
              </a:xfrm>
              <a:custGeom>
                <a:avLst/>
                <a:gdLst>
                  <a:gd name="T0" fmla="*/ 12 w 12"/>
                  <a:gd name="T1" fmla="*/ 0 h 13"/>
                  <a:gd name="T2" fmla="*/ 7 w 12"/>
                  <a:gd name="T3" fmla="*/ 7 h 13"/>
                  <a:gd name="T4" fmla="*/ 0 w 12"/>
                  <a:gd name="T5" fmla="*/ 13 h 13"/>
                  <a:gd name="T6" fmla="*/ 5 w 12"/>
                  <a:gd name="T7" fmla="*/ 6 h 13"/>
                  <a:gd name="T8" fmla="*/ 12 w 12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3">
                    <a:moveTo>
                      <a:pt x="12" y="0"/>
                    </a:moveTo>
                    <a:cubicBezTo>
                      <a:pt x="12" y="1"/>
                      <a:pt x="10" y="4"/>
                      <a:pt x="7" y="7"/>
                    </a:cubicBezTo>
                    <a:cubicBezTo>
                      <a:pt x="4" y="11"/>
                      <a:pt x="1" y="13"/>
                      <a:pt x="0" y="13"/>
                    </a:cubicBezTo>
                    <a:cubicBezTo>
                      <a:pt x="0" y="13"/>
                      <a:pt x="2" y="9"/>
                      <a:pt x="5" y="6"/>
                    </a:cubicBezTo>
                    <a:cubicBezTo>
                      <a:pt x="8" y="2"/>
                      <a:pt x="11" y="0"/>
                      <a:pt x="12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5" name="Freeform 77">
                <a:extLst>
                  <a:ext uri="{FF2B5EF4-FFF2-40B4-BE49-F238E27FC236}">
                    <a16:creationId xmlns:a16="http://schemas.microsoft.com/office/drawing/2014/main" id="{35030F80-3F88-6582-3511-B6DB414555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5" y="2743"/>
                <a:ext cx="22" cy="21"/>
              </a:xfrm>
              <a:custGeom>
                <a:avLst/>
                <a:gdLst>
                  <a:gd name="T0" fmla="*/ 12 w 13"/>
                  <a:gd name="T1" fmla="*/ 13 h 13"/>
                  <a:gd name="T2" fmla="*/ 6 w 13"/>
                  <a:gd name="T3" fmla="*/ 8 h 13"/>
                  <a:gd name="T4" fmla="*/ 0 w 13"/>
                  <a:gd name="T5" fmla="*/ 1 h 13"/>
                  <a:gd name="T6" fmla="*/ 7 w 13"/>
                  <a:gd name="T7" fmla="*/ 6 h 13"/>
                  <a:gd name="T8" fmla="*/ 12 w 1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3">
                    <a:moveTo>
                      <a:pt x="12" y="13"/>
                    </a:moveTo>
                    <a:cubicBezTo>
                      <a:pt x="12" y="13"/>
                      <a:pt x="9" y="11"/>
                      <a:pt x="6" y="8"/>
                    </a:cubicBezTo>
                    <a:cubicBezTo>
                      <a:pt x="2" y="4"/>
                      <a:pt x="0" y="1"/>
                      <a:pt x="0" y="1"/>
                    </a:cubicBezTo>
                    <a:cubicBezTo>
                      <a:pt x="0" y="0"/>
                      <a:pt x="3" y="3"/>
                      <a:pt x="7" y="6"/>
                    </a:cubicBezTo>
                    <a:cubicBezTo>
                      <a:pt x="10" y="10"/>
                      <a:pt x="13" y="13"/>
                      <a:pt x="12" y="1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6" name="Freeform 78">
                <a:extLst>
                  <a:ext uri="{FF2B5EF4-FFF2-40B4-BE49-F238E27FC236}">
                    <a16:creationId xmlns:a16="http://schemas.microsoft.com/office/drawing/2014/main" id="{DEA84BBF-9A8E-B3C7-8190-A86F97D9E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2679"/>
                <a:ext cx="14" cy="24"/>
              </a:xfrm>
              <a:custGeom>
                <a:avLst/>
                <a:gdLst>
                  <a:gd name="T0" fmla="*/ 9 w 9"/>
                  <a:gd name="T1" fmla="*/ 0 h 15"/>
                  <a:gd name="T2" fmla="*/ 5 w 9"/>
                  <a:gd name="T3" fmla="*/ 8 h 15"/>
                  <a:gd name="T4" fmla="*/ 0 w 9"/>
                  <a:gd name="T5" fmla="*/ 15 h 15"/>
                  <a:gd name="T6" fmla="*/ 4 w 9"/>
                  <a:gd name="T7" fmla="*/ 7 h 15"/>
                  <a:gd name="T8" fmla="*/ 9 w 9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">
                    <a:moveTo>
                      <a:pt x="9" y="0"/>
                    </a:moveTo>
                    <a:cubicBezTo>
                      <a:pt x="9" y="1"/>
                      <a:pt x="8" y="4"/>
                      <a:pt x="5" y="8"/>
                    </a:cubicBezTo>
                    <a:cubicBezTo>
                      <a:pt x="3" y="12"/>
                      <a:pt x="1" y="15"/>
                      <a:pt x="0" y="15"/>
                    </a:cubicBezTo>
                    <a:cubicBezTo>
                      <a:pt x="0" y="14"/>
                      <a:pt x="1" y="11"/>
                      <a:pt x="4" y="7"/>
                    </a:cubicBezTo>
                    <a:cubicBezTo>
                      <a:pt x="6" y="3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7" name="Freeform 79">
                <a:extLst>
                  <a:ext uri="{FF2B5EF4-FFF2-40B4-BE49-F238E27FC236}">
                    <a16:creationId xmlns:a16="http://schemas.microsoft.com/office/drawing/2014/main" id="{23003A42-904D-2D8C-CCA0-7331F17A43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8" y="2600"/>
                <a:ext cx="13" cy="24"/>
              </a:xfrm>
              <a:custGeom>
                <a:avLst/>
                <a:gdLst>
                  <a:gd name="T0" fmla="*/ 8 w 8"/>
                  <a:gd name="T1" fmla="*/ 0 h 15"/>
                  <a:gd name="T2" fmla="*/ 5 w 8"/>
                  <a:gd name="T3" fmla="*/ 8 h 15"/>
                  <a:gd name="T4" fmla="*/ 0 w 8"/>
                  <a:gd name="T5" fmla="*/ 15 h 15"/>
                  <a:gd name="T6" fmla="*/ 3 w 8"/>
                  <a:gd name="T7" fmla="*/ 7 h 15"/>
                  <a:gd name="T8" fmla="*/ 8 w 8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5">
                    <a:moveTo>
                      <a:pt x="8" y="0"/>
                    </a:moveTo>
                    <a:cubicBezTo>
                      <a:pt x="8" y="1"/>
                      <a:pt x="7" y="4"/>
                      <a:pt x="5" y="8"/>
                    </a:cubicBezTo>
                    <a:cubicBezTo>
                      <a:pt x="3" y="12"/>
                      <a:pt x="1" y="15"/>
                      <a:pt x="0" y="15"/>
                    </a:cubicBezTo>
                    <a:cubicBezTo>
                      <a:pt x="0" y="15"/>
                      <a:pt x="1" y="11"/>
                      <a:pt x="3" y="7"/>
                    </a:cubicBezTo>
                    <a:cubicBezTo>
                      <a:pt x="5" y="3"/>
                      <a:pt x="7" y="0"/>
                      <a:pt x="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8" name="Freeform 80">
                <a:extLst>
                  <a:ext uri="{FF2B5EF4-FFF2-40B4-BE49-F238E27FC236}">
                    <a16:creationId xmlns:a16="http://schemas.microsoft.com/office/drawing/2014/main" id="{99DE578F-0405-9505-A813-8E9D62C397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0" y="2636"/>
                <a:ext cx="18" cy="10"/>
              </a:xfrm>
              <a:custGeom>
                <a:avLst/>
                <a:gdLst>
                  <a:gd name="T0" fmla="*/ 11 w 11"/>
                  <a:gd name="T1" fmla="*/ 0 h 6"/>
                  <a:gd name="T2" fmla="*/ 6 w 11"/>
                  <a:gd name="T3" fmla="*/ 4 h 6"/>
                  <a:gd name="T4" fmla="*/ 0 w 11"/>
                  <a:gd name="T5" fmla="*/ 5 h 6"/>
                  <a:gd name="T6" fmla="*/ 5 w 11"/>
                  <a:gd name="T7" fmla="*/ 2 h 6"/>
                  <a:gd name="T8" fmla="*/ 11 w 11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11" y="0"/>
                    </a:moveTo>
                    <a:cubicBezTo>
                      <a:pt x="11" y="1"/>
                      <a:pt x="9" y="2"/>
                      <a:pt x="6" y="4"/>
                    </a:cubicBezTo>
                    <a:cubicBezTo>
                      <a:pt x="3" y="5"/>
                      <a:pt x="1" y="6"/>
                      <a:pt x="0" y="5"/>
                    </a:cubicBezTo>
                    <a:cubicBezTo>
                      <a:pt x="0" y="5"/>
                      <a:pt x="2" y="3"/>
                      <a:pt x="5" y="2"/>
                    </a:cubicBezTo>
                    <a:cubicBezTo>
                      <a:pt x="8" y="0"/>
                      <a:pt x="11" y="0"/>
                      <a:pt x="1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9" name="Freeform 81">
                <a:extLst>
                  <a:ext uri="{FF2B5EF4-FFF2-40B4-BE49-F238E27FC236}">
                    <a16:creationId xmlns:a16="http://schemas.microsoft.com/office/drawing/2014/main" id="{9F5CF83B-40BB-78ED-EFBD-A92904846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" y="2904"/>
                <a:ext cx="33" cy="17"/>
              </a:xfrm>
              <a:custGeom>
                <a:avLst/>
                <a:gdLst>
                  <a:gd name="T0" fmla="*/ 20 w 20"/>
                  <a:gd name="T1" fmla="*/ 9 h 10"/>
                  <a:gd name="T2" fmla="*/ 10 w 20"/>
                  <a:gd name="T3" fmla="*/ 7 h 10"/>
                  <a:gd name="T4" fmla="*/ 0 w 20"/>
                  <a:gd name="T5" fmla="*/ 1 h 10"/>
                  <a:gd name="T6" fmla="*/ 10 w 20"/>
                  <a:gd name="T7" fmla="*/ 5 h 10"/>
                  <a:gd name="T8" fmla="*/ 20 w 20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0">
                    <a:moveTo>
                      <a:pt x="20" y="9"/>
                    </a:moveTo>
                    <a:cubicBezTo>
                      <a:pt x="20" y="10"/>
                      <a:pt x="15" y="9"/>
                      <a:pt x="10" y="7"/>
                    </a:cubicBezTo>
                    <a:cubicBezTo>
                      <a:pt x="4" y="4"/>
                      <a:pt x="0" y="1"/>
                      <a:pt x="0" y="1"/>
                    </a:cubicBezTo>
                    <a:cubicBezTo>
                      <a:pt x="1" y="0"/>
                      <a:pt x="5" y="2"/>
                      <a:pt x="10" y="5"/>
                    </a:cubicBezTo>
                    <a:cubicBezTo>
                      <a:pt x="16" y="7"/>
                      <a:pt x="20" y="9"/>
                      <a:pt x="20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0" name="Freeform 82">
                <a:extLst>
                  <a:ext uri="{FF2B5EF4-FFF2-40B4-BE49-F238E27FC236}">
                    <a16:creationId xmlns:a16="http://schemas.microsoft.com/office/drawing/2014/main" id="{FD82C3C9-C3BC-2375-2386-047547FF09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3" y="2978"/>
                <a:ext cx="25" cy="7"/>
              </a:xfrm>
              <a:custGeom>
                <a:avLst/>
                <a:gdLst>
                  <a:gd name="T0" fmla="*/ 15 w 15"/>
                  <a:gd name="T1" fmla="*/ 1 h 4"/>
                  <a:gd name="T2" fmla="*/ 7 w 15"/>
                  <a:gd name="T3" fmla="*/ 3 h 4"/>
                  <a:gd name="T4" fmla="*/ 0 w 15"/>
                  <a:gd name="T5" fmla="*/ 3 h 4"/>
                  <a:gd name="T6" fmla="*/ 7 w 15"/>
                  <a:gd name="T7" fmla="*/ 1 h 4"/>
                  <a:gd name="T8" fmla="*/ 15 w 15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">
                    <a:moveTo>
                      <a:pt x="15" y="1"/>
                    </a:moveTo>
                    <a:cubicBezTo>
                      <a:pt x="15" y="1"/>
                      <a:pt x="12" y="2"/>
                      <a:pt x="7" y="3"/>
                    </a:cubicBezTo>
                    <a:cubicBezTo>
                      <a:pt x="3" y="4"/>
                      <a:pt x="0" y="4"/>
                      <a:pt x="0" y="3"/>
                    </a:cubicBezTo>
                    <a:cubicBezTo>
                      <a:pt x="0" y="3"/>
                      <a:pt x="3" y="2"/>
                      <a:pt x="7" y="1"/>
                    </a:cubicBezTo>
                    <a:cubicBezTo>
                      <a:pt x="11" y="0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1" name="Freeform 83">
                <a:extLst>
                  <a:ext uri="{FF2B5EF4-FFF2-40B4-BE49-F238E27FC236}">
                    <a16:creationId xmlns:a16="http://schemas.microsoft.com/office/drawing/2014/main" id="{08EE42F3-805C-8F8B-42C6-A5FF256204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2" y="3054"/>
                <a:ext cx="23" cy="28"/>
              </a:xfrm>
              <a:custGeom>
                <a:avLst/>
                <a:gdLst>
                  <a:gd name="T0" fmla="*/ 14 w 14"/>
                  <a:gd name="T1" fmla="*/ 17 h 17"/>
                  <a:gd name="T2" fmla="*/ 5 w 14"/>
                  <a:gd name="T3" fmla="*/ 10 h 17"/>
                  <a:gd name="T4" fmla="*/ 0 w 14"/>
                  <a:gd name="T5" fmla="*/ 0 h 17"/>
                  <a:gd name="T6" fmla="*/ 7 w 14"/>
                  <a:gd name="T7" fmla="*/ 9 h 17"/>
                  <a:gd name="T8" fmla="*/ 14 w 14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7">
                    <a:moveTo>
                      <a:pt x="14" y="17"/>
                    </a:moveTo>
                    <a:cubicBezTo>
                      <a:pt x="13" y="17"/>
                      <a:pt x="9" y="15"/>
                      <a:pt x="5" y="10"/>
                    </a:cubicBezTo>
                    <a:cubicBezTo>
                      <a:pt x="2" y="5"/>
                      <a:pt x="0" y="0"/>
                      <a:pt x="0" y="0"/>
                    </a:cubicBezTo>
                    <a:cubicBezTo>
                      <a:pt x="1" y="0"/>
                      <a:pt x="3" y="4"/>
                      <a:pt x="7" y="9"/>
                    </a:cubicBezTo>
                    <a:cubicBezTo>
                      <a:pt x="11" y="13"/>
                      <a:pt x="14" y="17"/>
                      <a:pt x="14" y="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2" name="Freeform 84">
                <a:extLst>
                  <a:ext uri="{FF2B5EF4-FFF2-40B4-BE49-F238E27FC236}">
                    <a16:creationId xmlns:a16="http://schemas.microsoft.com/office/drawing/2014/main" id="{176448B7-D783-EF88-31B9-265ED01C4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" y="3113"/>
                <a:ext cx="20" cy="17"/>
              </a:xfrm>
              <a:custGeom>
                <a:avLst/>
                <a:gdLst>
                  <a:gd name="T0" fmla="*/ 0 w 12"/>
                  <a:gd name="T1" fmla="*/ 10 h 10"/>
                  <a:gd name="T2" fmla="*/ 5 w 12"/>
                  <a:gd name="T3" fmla="*/ 4 h 10"/>
                  <a:gd name="T4" fmla="*/ 11 w 12"/>
                  <a:gd name="T5" fmla="*/ 0 h 10"/>
                  <a:gd name="T6" fmla="*/ 6 w 12"/>
                  <a:gd name="T7" fmla="*/ 6 h 10"/>
                  <a:gd name="T8" fmla="*/ 0 w 1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0" y="10"/>
                    </a:moveTo>
                    <a:cubicBezTo>
                      <a:pt x="0" y="9"/>
                      <a:pt x="2" y="7"/>
                      <a:pt x="5" y="4"/>
                    </a:cubicBezTo>
                    <a:cubicBezTo>
                      <a:pt x="8" y="1"/>
                      <a:pt x="11" y="0"/>
                      <a:pt x="11" y="0"/>
                    </a:cubicBezTo>
                    <a:cubicBezTo>
                      <a:pt x="12" y="0"/>
                      <a:pt x="9" y="3"/>
                      <a:pt x="6" y="6"/>
                    </a:cubicBezTo>
                    <a:cubicBezTo>
                      <a:pt x="3" y="8"/>
                      <a:pt x="0" y="10"/>
                      <a:pt x="0" y="1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3" name="Freeform 85">
                <a:extLst>
                  <a:ext uri="{FF2B5EF4-FFF2-40B4-BE49-F238E27FC236}">
                    <a16:creationId xmlns:a16="http://schemas.microsoft.com/office/drawing/2014/main" id="{D22C54DB-C62B-BEFD-E0B9-EDB3A31A8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2865"/>
                <a:ext cx="112" cy="290"/>
              </a:xfrm>
              <a:custGeom>
                <a:avLst/>
                <a:gdLst>
                  <a:gd name="T0" fmla="*/ 43 w 68"/>
                  <a:gd name="T1" fmla="*/ 24 h 176"/>
                  <a:gd name="T2" fmla="*/ 21 w 68"/>
                  <a:gd name="T3" fmla="*/ 0 h 176"/>
                  <a:gd name="T4" fmla="*/ 5 w 68"/>
                  <a:gd name="T5" fmla="*/ 11 h 176"/>
                  <a:gd name="T6" fmla="*/ 0 w 68"/>
                  <a:gd name="T7" fmla="*/ 31 h 176"/>
                  <a:gd name="T8" fmla="*/ 25 w 68"/>
                  <a:gd name="T9" fmla="*/ 176 h 176"/>
                  <a:gd name="T10" fmla="*/ 68 w 68"/>
                  <a:gd name="T11" fmla="*/ 176 h 176"/>
                  <a:gd name="T12" fmla="*/ 43 w 68"/>
                  <a:gd name="T13" fmla="*/ 24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176">
                    <a:moveTo>
                      <a:pt x="43" y="24"/>
                    </a:moveTo>
                    <a:cubicBezTo>
                      <a:pt x="39" y="13"/>
                      <a:pt x="33" y="0"/>
                      <a:pt x="21" y="0"/>
                    </a:cubicBezTo>
                    <a:cubicBezTo>
                      <a:pt x="14" y="0"/>
                      <a:pt x="8" y="5"/>
                      <a:pt x="5" y="11"/>
                    </a:cubicBezTo>
                    <a:cubicBezTo>
                      <a:pt x="1" y="17"/>
                      <a:pt x="0" y="24"/>
                      <a:pt x="0" y="31"/>
                    </a:cubicBezTo>
                    <a:cubicBezTo>
                      <a:pt x="2" y="77"/>
                      <a:pt x="10" y="129"/>
                      <a:pt x="25" y="176"/>
                    </a:cubicBezTo>
                    <a:cubicBezTo>
                      <a:pt x="68" y="176"/>
                      <a:pt x="68" y="176"/>
                      <a:pt x="68" y="176"/>
                    </a:cubicBezTo>
                    <a:cubicBezTo>
                      <a:pt x="67" y="124"/>
                      <a:pt x="59" y="75"/>
                      <a:pt x="43" y="24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4" name="Freeform 86">
                <a:extLst>
                  <a:ext uri="{FF2B5EF4-FFF2-40B4-BE49-F238E27FC236}">
                    <a16:creationId xmlns:a16="http://schemas.microsoft.com/office/drawing/2014/main" id="{95F2134B-F9CA-39BB-136A-79B222412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2728"/>
                <a:ext cx="200" cy="448"/>
              </a:xfrm>
              <a:custGeom>
                <a:avLst/>
                <a:gdLst>
                  <a:gd name="T0" fmla="*/ 75 w 121"/>
                  <a:gd name="T1" fmla="*/ 38 h 272"/>
                  <a:gd name="T2" fmla="*/ 31 w 121"/>
                  <a:gd name="T3" fmla="*/ 0 h 272"/>
                  <a:gd name="T4" fmla="*/ 2 w 121"/>
                  <a:gd name="T5" fmla="*/ 40 h 272"/>
                  <a:gd name="T6" fmla="*/ 12 w 121"/>
                  <a:gd name="T7" fmla="*/ 97 h 272"/>
                  <a:gd name="T8" fmla="*/ 68 w 121"/>
                  <a:gd name="T9" fmla="*/ 272 h 272"/>
                  <a:gd name="T10" fmla="*/ 121 w 121"/>
                  <a:gd name="T11" fmla="*/ 266 h 272"/>
                  <a:gd name="T12" fmla="*/ 75 w 121"/>
                  <a:gd name="T13" fmla="*/ 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272">
                    <a:moveTo>
                      <a:pt x="75" y="38"/>
                    </a:moveTo>
                    <a:cubicBezTo>
                      <a:pt x="69" y="14"/>
                      <a:pt x="51" y="1"/>
                      <a:pt x="31" y="0"/>
                    </a:cubicBezTo>
                    <a:cubicBezTo>
                      <a:pt x="12" y="3"/>
                      <a:pt x="5" y="22"/>
                      <a:pt x="2" y="40"/>
                    </a:cubicBezTo>
                    <a:cubicBezTo>
                      <a:pt x="0" y="59"/>
                      <a:pt x="6" y="78"/>
                      <a:pt x="12" y="97"/>
                    </a:cubicBezTo>
                    <a:cubicBezTo>
                      <a:pt x="30" y="155"/>
                      <a:pt x="49" y="213"/>
                      <a:pt x="68" y="272"/>
                    </a:cubicBezTo>
                    <a:cubicBezTo>
                      <a:pt x="85" y="270"/>
                      <a:pt x="103" y="268"/>
                      <a:pt x="121" y="266"/>
                    </a:cubicBezTo>
                    <a:cubicBezTo>
                      <a:pt x="104" y="188"/>
                      <a:pt x="94" y="115"/>
                      <a:pt x="75" y="38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5" name="Freeform 87">
                <a:extLst>
                  <a:ext uri="{FF2B5EF4-FFF2-40B4-BE49-F238E27FC236}">
                    <a16:creationId xmlns:a16="http://schemas.microsoft.com/office/drawing/2014/main" id="{F4FB827C-98D4-CE8A-816D-CE25513F5D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1" y="2865"/>
                <a:ext cx="48" cy="291"/>
              </a:xfrm>
              <a:custGeom>
                <a:avLst/>
                <a:gdLst>
                  <a:gd name="T0" fmla="*/ 7 w 29"/>
                  <a:gd name="T1" fmla="*/ 0 h 177"/>
                  <a:gd name="T2" fmla="*/ 3 w 29"/>
                  <a:gd name="T3" fmla="*/ 6 h 177"/>
                  <a:gd name="T4" fmla="*/ 1 w 29"/>
                  <a:gd name="T5" fmla="*/ 25 h 177"/>
                  <a:gd name="T6" fmla="*/ 5 w 29"/>
                  <a:gd name="T7" fmla="*/ 53 h 177"/>
                  <a:gd name="T8" fmla="*/ 10 w 29"/>
                  <a:gd name="T9" fmla="*/ 88 h 177"/>
                  <a:gd name="T10" fmla="*/ 24 w 29"/>
                  <a:gd name="T11" fmla="*/ 150 h 177"/>
                  <a:gd name="T12" fmla="*/ 28 w 29"/>
                  <a:gd name="T13" fmla="*/ 169 h 177"/>
                  <a:gd name="T14" fmla="*/ 29 w 29"/>
                  <a:gd name="T15" fmla="*/ 175 h 177"/>
                  <a:gd name="T16" fmla="*/ 29 w 29"/>
                  <a:gd name="T17" fmla="*/ 176 h 177"/>
                  <a:gd name="T18" fmla="*/ 28 w 29"/>
                  <a:gd name="T19" fmla="*/ 175 h 177"/>
                  <a:gd name="T20" fmla="*/ 27 w 29"/>
                  <a:gd name="T21" fmla="*/ 170 h 177"/>
                  <a:gd name="T22" fmla="*/ 23 w 29"/>
                  <a:gd name="T23" fmla="*/ 151 h 177"/>
                  <a:gd name="T24" fmla="*/ 8 w 29"/>
                  <a:gd name="T25" fmla="*/ 88 h 177"/>
                  <a:gd name="T26" fmla="*/ 3 w 29"/>
                  <a:gd name="T27" fmla="*/ 54 h 177"/>
                  <a:gd name="T28" fmla="*/ 1 w 29"/>
                  <a:gd name="T29" fmla="*/ 38 h 177"/>
                  <a:gd name="T30" fmla="*/ 0 w 29"/>
                  <a:gd name="T31" fmla="*/ 25 h 177"/>
                  <a:gd name="T32" fmla="*/ 3 w 29"/>
                  <a:gd name="T33" fmla="*/ 6 h 177"/>
                  <a:gd name="T34" fmla="*/ 7 w 29"/>
                  <a:gd name="T35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177">
                    <a:moveTo>
                      <a:pt x="7" y="0"/>
                    </a:moveTo>
                    <a:cubicBezTo>
                      <a:pt x="7" y="0"/>
                      <a:pt x="5" y="2"/>
                      <a:pt x="3" y="6"/>
                    </a:cubicBezTo>
                    <a:cubicBezTo>
                      <a:pt x="2" y="10"/>
                      <a:pt x="1" y="17"/>
                      <a:pt x="1" y="25"/>
                    </a:cubicBezTo>
                    <a:cubicBezTo>
                      <a:pt x="2" y="33"/>
                      <a:pt x="3" y="43"/>
                      <a:pt x="5" y="53"/>
                    </a:cubicBezTo>
                    <a:cubicBezTo>
                      <a:pt x="6" y="64"/>
                      <a:pt x="8" y="76"/>
                      <a:pt x="10" y="88"/>
                    </a:cubicBezTo>
                    <a:cubicBezTo>
                      <a:pt x="15" y="113"/>
                      <a:pt x="21" y="134"/>
                      <a:pt x="24" y="150"/>
                    </a:cubicBezTo>
                    <a:cubicBezTo>
                      <a:pt x="26" y="158"/>
                      <a:pt x="27" y="165"/>
                      <a:pt x="28" y="169"/>
                    </a:cubicBezTo>
                    <a:cubicBezTo>
                      <a:pt x="28" y="172"/>
                      <a:pt x="29" y="173"/>
                      <a:pt x="29" y="175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29" y="177"/>
                      <a:pt x="29" y="176"/>
                      <a:pt x="28" y="175"/>
                    </a:cubicBezTo>
                    <a:cubicBezTo>
                      <a:pt x="28" y="173"/>
                      <a:pt x="28" y="172"/>
                      <a:pt x="27" y="170"/>
                    </a:cubicBezTo>
                    <a:cubicBezTo>
                      <a:pt x="26" y="165"/>
                      <a:pt x="24" y="159"/>
                      <a:pt x="23" y="151"/>
                    </a:cubicBezTo>
                    <a:cubicBezTo>
                      <a:pt x="19" y="135"/>
                      <a:pt x="13" y="113"/>
                      <a:pt x="8" y="88"/>
                    </a:cubicBezTo>
                    <a:cubicBezTo>
                      <a:pt x="6" y="76"/>
                      <a:pt x="4" y="64"/>
                      <a:pt x="3" y="54"/>
                    </a:cubicBezTo>
                    <a:cubicBezTo>
                      <a:pt x="2" y="48"/>
                      <a:pt x="2" y="43"/>
                      <a:pt x="1" y="38"/>
                    </a:cubicBezTo>
                    <a:cubicBezTo>
                      <a:pt x="1" y="34"/>
                      <a:pt x="0" y="29"/>
                      <a:pt x="0" y="25"/>
                    </a:cubicBezTo>
                    <a:cubicBezTo>
                      <a:pt x="0" y="17"/>
                      <a:pt x="1" y="10"/>
                      <a:pt x="3" y="6"/>
                    </a:cubicBezTo>
                    <a:cubicBezTo>
                      <a:pt x="5" y="2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6" name="Freeform 88">
                <a:extLst>
                  <a:ext uri="{FF2B5EF4-FFF2-40B4-BE49-F238E27FC236}">
                    <a16:creationId xmlns:a16="http://schemas.microsoft.com/office/drawing/2014/main" id="{4DCA35DC-E61B-1D2E-ED04-A20408217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3" y="2725"/>
                <a:ext cx="101" cy="431"/>
              </a:xfrm>
              <a:custGeom>
                <a:avLst/>
                <a:gdLst>
                  <a:gd name="T0" fmla="*/ 16 w 61"/>
                  <a:gd name="T1" fmla="*/ 0 h 262"/>
                  <a:gd name="T2" fmla="*/ 10 w 61"/>
                  <a:gd name="T3" fmla="*/ 9 h 262"/>
                  <a:gd name="T4" fmla="*/ 2 w 61"/>
                  <a:gd name="T5" fmla="*/ 36 h 262"/>
                  <a:gd name="T6" fmla="*/ 8 w 61"/>
                  <a:gd name="T7" fmla="*/ 79 h 262"/>
                  <a:gd name="T8" fmla="*/ 24 w 61"/>
                  <a:gd name="T9" fmla="*/ 130 h 262"/>
                  <a:gd name="T10" fmla="*/ 51 w 61"/>
                  <a:gd name="T11" fmla="*/ 223 h 262"/>
                  <a:gd name="T12" fmla="*/ 59 w 61"/>
                  <a:gd name="T13" fmla="*/ 252 h 262"/>
                  <a:gd name="T14" fmla="*/ 61 w 61"/>
                  <a:gd name="T15" fmla="*/ 259 h 262"/>
                  <a:gd name="T16" fmla="*/ 61 w 61"/>
                  <a:gd name="T17" fmla="*/ 262 h 262"/>
                  <a:gd name="T18" fmla="*/ 60 w 61"/>
                  <a:gd name="T19" fmla="*/ 260 h 262"/>
                  <a:gd name="T20" fmla="*/ 58 w 61"/>
                  <a:gd name="T21" fmla="*/ 252 h 262"/>
                  <a:gd name="T22" fmla="*/ 49 w 61"/>
                  <a:gd name="T23" fmla="*/ 224 h 262"/>
                  <a:gd name="T24" fmla="*/ 22 w 61"/>
                  <a:gd name="T25" fmla="*/ 131 h 262"/>
                  <a:gd name="T26" fmla="*/ 7 w 61"/>
                  <a:gd name="T27" fmla="*/ 80 h 262"/>
                  <a:gd name="T28" fmla="*/ 1 w 61"/>
                  <a:gd name="T29" fmla="*/ 36 h 262"/>
                  <a:gd name="T30" fmla="*/ 9 w 61"/>
                  <a:gd name="T31" fmla="*/ 8 h 262"/>
                  <a:gd name="T32" fmla="*/ 16 w 61"/>
                  <a:gd name="T33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" h="262">
                    <a:moveTo>
                      <a:pt x="16" y="0"/>
                    </a:moveTo>
                    <a:cubicBezTo>
                      <a:pt x="17" y="0"/>
                      <a:pt x="14" y="3"/>
                      <a:pt x="10" y="9"/>
                    </a:cubicBezTo>
                    <a:cubicBezTo>
                      <a:pt x="6" y="15"/>
                      <a:pt x="3" y="24"/>
                      <a:pt x="2" y="36"/>
                    </a:cubicBezTo>
                    <a:cubicBezTo>
                      <a:pt x="1" y="49"/>
                      <a:pt x="4" y="63"/>
                      <a:pt x="8" y="79"/>
                    </a:cubicBezTo>
                    <a:cubicBezTo>
                      <a:pt x="13" y="95"/>
                      <a:pt x="18" y="112"/>
                      <a:pt x="24" y="130"/>
                    </a:cubicBezTo>
                    <a:cubicBezTo>
                      <a:pt x="34" y="167"/>
                      <a:pt x="44" y="199"/>
                      <a:pt x="51" y="223"/>
                    </a:cubicBezTo>
                    <a:cubicBezTo>
                      <a:pt x="54" y="235"/>
                      <a:pt x="57" y="245"/>
                      <a:pt x="59" y="252"/>
                    </a:cubicBezTo>
                    <a:cubicBezTo>
                      <a:pt x="60" y="255"/>
                      <a:pt x="60" y="258"/>
                      <a:pt x="61" y="259"/>
                    </a:cubicBezTo>
                    <a:cubicBezTo>
                      <a:pt x="61" y="261"/>
                      <a:pt x="61" y="262"/>
                      <a:pt x="61" y="262"/>
                    </a:cubicBezTo>
                    <a:cubicBezTo>
                      <a:pt x="61" y="262"/>
                      <a:pt x="61" y="261"/>
                      <a:pt x="60" y="260"/>
                    </a:cubicBezTo>
                    <a:cubicBezTo>
                      <a:pt x="60" y="258"/>
                      <a:pt x="59" y="255"/>
                      <a:pt x="58" y="252"/>
                    </a:cubicBezTo>
                    <a:cubicBezTo>
                      <a:pt x="56" y="245"/>
                      <a:pt x="53" y="236"/>
                      <a:pt x="49" y="224"/>
                    </a:cubicBezTo>
                    <a:cubicBezTo>
                      <a:pt x="42" y="200"/>
                      <a:pt x="33" y="167"/>
                      <a:pt x="22" y="131"/>
                    </a:cubicBezTo>
                    <a:cubicBezTo>
                      <a:pt x="16" y="113"/>
                      <a:pt x="11" y="95"/>
                      <a:pt x="7" y="80"/>
                    </a:cubicBezTo>
                    <a:cubicBezTo>
                      <a:pt x="2" y="64"/>
                      <a:pt x="0" y="49"/>
                      <a:pt x="1" y="36"/>
                    </a:cubicBezTo>
                    <a:cubicBezTo>
                      <a:pt x="1" y="24"/>
                      <a:pt x="6" y="14"/>
                      <a:pt x="9" y="8"/>
                    </a:cubicBezTo>
                    <a:cubicBezTo>
                      <a:pt x="13" y="2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7" name="Freeform 89">
                <a:extLst>
                  <a:ext uri="{FF2B5EF4-FFF2-40B4-BE49-F238E27FC236}">
                    <a16:creationId xmlns:a16="http://schemas.microsoft.com/office/drawing/2014/main" id="{B2AB38B0-ED76-9A4A-AA7D-A2F7C9ACC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5" y="2726"/>
                <a:ext cx="133" cy="430"/>
              </a:xfrm>
              <a:custGeom>
                <a:avLst/>
                <a:gdLst>
                  <a:gd name="T0" fmla="*/ 81 w 81"/>
                  <a:gd name="T1" fmla="*/ 261 h 261"/>
                  <a:gd name="T2" fmla="*/ 80 w 81"/>
                  <a:gd name="T3" fmla="*/ 259 h 261"/>
                  <a:gd name="T4" fmla="*/ 77 w 81"/>
                  <a:gd name="T5" fmla="*/ 251 h 261"/>
                  <a:gd name="T6" fmla="*/ 68 w 81"/>
                  <a:gd name="T7" fmla="*/ 223 h 261"/>
                  <a:gd name="T8" fmla="*/ 58 w 81"/>
                  <a:gd name="T9" fmla="*/ 181 h 261"/>
                  <a:gd name="T10" fmla="*/ 48 w 81"/>
                  <a:gd name="T11" fmla="*/ 128 h 261"/>
                  <a:gd name="T12" fmla="*/ 35 w 81"/>
                  <a:gd name="T13" fmla="*/ 76 h 261"/>
                  <a:gd name="T14" fmla="*/ 20 w 81"/>
                  <a:gd name="T15" fmla="*/ 35 h 261"/>
                  <a:gd name="T16" fmla="*/ 6 w 81"/>
                  <a:gd name="T17" fmla="*/ 9 h 261"/>
                  <a:gd name="T18" fmla="*/ 1 w 81"/>
                  <a:gd name="T19" fmla="*/ 3 h 261"/>
                  <a:gd name="T20" fmla="*/ 0 w 81"/>
                  <a:gd name="T21" fmla="*/ 0 h 261"/>
                  <a:gd name="T22" fmla="*/ 2 w 81"/>
                  <a:gd name="T23" fmla="*/ 2 h 261"/>
                  <a:gd name="T24" fmla="*/ 6 w 81"/>
                  <a:gd name="T25" fmla="*/ 9 h 261"/>
                  <a:gd name="T26" fmla="*/ 21 w 81"/>
                  <a:gd name="T27" fmla="*/ 34 h 261"/>
                  <a:gd name="T28" fmla="*/ 37 w 81"/>
                  <a:gd name="T29" fmla="*/ 75 h 261"/>
                  <a:gd name="T30" fmla="*/ 50 w 81"/>
                  <a:gd name="T31" fmla="*/ 127 h 261"/>
                  <a:gd name="T32" fmla="*/ 60 w 81"/>
                  <a:gd name="T33" fmla="*/ 180 h 261"/>
                  <a:gd name="T34" fmla="*/ 69 w 81"/>
                  <a:gd name="T35" fmla="*/ 223 h 261"/>
                  <a:gd name="T36" fmla="*/ 78 w 81"/>
                  <a:gd name="T37" fmla="*/ 251 h 261"/>
                  <a:gd name="T38" fmla="*/ 80 w 81"/>
                  <a:gd name="T39" fmla="*/ 259 h 261"/>
                  <a:gd name="T40" fmla="*/ 81 w 81"/>
                  <a:gd name="T41" fmla="*/ 26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" h="261">
                    <a:moveTo>
                      <a:pt x="81" y="261"/>
                    </a:moveTo>
                    <a:cubicBezTo>
                      <a:pt x="81" y="261"/>
                      <a:pt x="81" y="260"/>
                      <a:pt x="80" y="259"/>
                    </a:cubicBezTo>
                    <a:cubicBezTo>
                      <a:pt x="79" y="257"/>
                      <a:pt x="78" y="255"/>
                      <a:pt x="77" y="251"/>
                    </a:cubicBezTo>
                    <a:cubicBezTo>
                      <a:pt x="74" y="245"/>
                      <a:pt x="71" y="235"/>
                      <a:pt x="68" y="223"/>
                    </a:cubicBezTo>
                    <a:cubicBezTo>
                      <a:pt x="65" y="211"/>
                      <a:pt x="61" y="197"/>
                      <a:pt x="58" y="181"/>
                    </a:cubicBezTo>
                    <a:cubicBezTo>
                      <a:pt x="55" y="164"/>
                      <a:pt x="52" y="147"/>
                      <a:pt x="48" y="128"/>
                    </a:cubicBezTo>
                    <a:cubicBezTo>
                      <a:pt x="44" y="109"/>
                      <a:pt x="40" y="92"/>
                      <a:pt x="35" y="76"/>
                    </a:cubicBezTo>
                    <a:cubicBezTo>
                      <a:pt x="31" y="60"/>
                      <a:pt x="25" y="46"/>
                      <a:pt x="20" y="35"/>
                    </a:cubicBezTo>
                    <a:cubicBezTo>
                      <a:pt x="15" y="24"/>
                      <a:pt x="10" y="15"/>
                      <a:pt x="6" y="9"/>
                    </a:cubicBezTo>
                    <a:cubicBezTo>
                      <a:pt x="4" y="6"/>
                      <a:pt x="2" y="4"/>
                      <a:pt x="1" y="3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1"/>
                      <a:pt x="2" y="2"/>
                    </a:cubicBezTo>
                    <a:cubicBezTo>
                      <a:pt x="3" y="4"/>
                      <a:pt x="4" y="6"/>
                      <a:pt x="6" y="9"/>
                    </a:cubicBezTo>
                    <a:cubicBezTo>
                      <a:pt x="10" y="15"/>
                      <a:pt x="16" y="23"/>
                      <a:pt x="21" y="34"/>
                    </a:cubicBezTo>
                    <a:cubicBezTo>
                      <a:pt x="27" y="46"/>
                      <a:pt x="32" y="59"/>
                      <a:pt x="37" y="75"/>
                    </a:cubicBezTo>
                    <a:cubicBezTo>
                      <a:pt x="42" y="91"/>
                      <a:pt x="46" y="109"/>
                      <a:pt x="50" y="127"/>
                    </a:cubicBezTo>
                    <a:cubicBezTo>
                      <a:pt x="53" y="146"/>
                      <a:pt x="57" y="164"/>
                      <a:pt x="60" y="180"/>
                    </a:cubicBezTo>
                    <a:cubicBezTo>
                      <a:pt x="63" y="196"/>
                      <a:pt x="66" y="211"/>
                      <a:pt x="69" y="223"/>
                    </a:cubicBezTo>
                    <a:cubicBezTo>
                      <a:pt x="72" y="235"/>
                      <a:pt x="75" y="245"/>
                      <a:pt x="78" y="251"/>
                    </a:cubicBezTo>
                    <a:cubicBezTo>
                      <a:pt x="79" y="254"/>
                      <a:pt x="80" y="257"/>
                      <a:pt x="80" y="259"/>
                    </a:cubicBezTo>
                    <a:cubicBezTo>
                      <a:pt x="81" y="260"/>
                      <a:pt x="81" y="261"/>
                      <a:pt x="81" y="26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8" name="Freeform 90">
                <a:extLst>
                  <a:ext uri="{FF2B5EF4-FFF2-40B4-BE49-F238E27FC236}">
                    <a16:creationId xmlns:a16="http://schemas.microsoft.com/office/drawing/2014/main" id="{15FAB94C-C078-9024-29AE-965054C6AB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7" y="2871"/>
                <a:ext cx="23" cy="9"/>
              </a:xfrm>
              <a:custGeom>
                <a:avLst/>
                <a:gdLst>
                  <a:gd name="T0" fmla="*/ 14 w 14"/>
                  <a:gd name="T1" fmla="*/ 1 h 5"/>
                  <a:gd name="T2" fmla="*/ 7 w 14"/>
                  <a:gd name="T3" fmla="*/ 3 h 5"/>
                  <a:gd name="T4" fmla="*/ 0 w 14"/>
                  <a:gd name="T5" fmla="*/ 4 h 5"/>
                  <a:gd name="T6" fmla="*/ 7 w 14"/>
                  <a:gd name="T7" fmla="*/ 1 h 5"/>
                  <a:gd name="T8" fmla="*/ 14 w 14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5">
                    <a:moveTo>
                      <a:pt x="14" y="1"/>
                    </a:moveTo>
                    <a:cubicBezTo>
                      <a:pt x="14" y="1"/>
                      <a:pt x="11" y="2"/>
                      <a:pt x="7" y="3"/>
                    </a:cubicBezTo>
                    <a:cubicBezTo>
                      <a:pt x="4" y="4"/>
                      <a:pt x="1" y="5"/>
                      <a:pt x="0" y="4"/>
                    </a:cubicBezTo>
                    <a:cubicBezTo>
                      <a:pt x="0" y="3"/>
                      <a:pt x="3" y="2"/>
                      <a:pt x="7" y="1"/>
                    </a:cubicBezTo>
                    <a:cubicBezTo>
                      <a:pt x="10" y="1"/>
                      <a:pt x="14" y="0"/>
                      <a:pt x="14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9" name="Freeform 91">
                <a:extLst>
                  <a:ext uri="{FF2B5EF4-FFF2-40B4-BE49-F238E27FC236}">
                    <a16:creationId xmlns:a16="http://schemas.microsoft.com/office/drawing/2014/main" id="{579803AE-066D-14BA-5D06-AD738C2AB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0" y="2810"/>
                <a:ext cx="30" cy="5"/>
              </a:xfrm>
              <a:custGeom>
                <a:avLst/>
                <a:gdLst>
                  <a:gd name="T0" fmla="*/ 18 w 18"/>
                  <a:gd name="T1" fmla="*/ 2 h 3"/>
                  <a:gd name="T2" fmla="*/ 9 w 18"/>
                  <a:gd name="T3" fmla="*/ 3 h 3"/>
                  <a:gd name="T4" fmla="*/ 0 w 18"/>
                  <a:gd name="T5" fmla="*/ 2 h 3"/>
                  <a:gd name="T6" fmla="*/ 9 w 18"/>
                  <a:gd name="T7" fmla="*/ 1 h 3"/>
                  <a:gd name="T8" fmla="*/ 18 w 18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">
                    <a:moveTo>
                      <a:pt x="18" y="2"/>
                    </a:moveTo>
                    <a:cubicBezTo>
                      <a:pt x="18" y="2"/>
                      <a:pt x="14" y="2"/>
                      <a:pt x="9" y="3"/>
                    </a:cubicBezTo>
                    <a:cubicBezTo>
                      <a:pt x="4" y="3"/>
                      <a:pt x="0" y="3"/>
                      <a:pt x="0" y="2"/>
                    </a:cubicBezTo>
                    <a:cubicBezTo>
                      <a:pt x="0" y="2"/>
                      <a:pt x="4" y="1"/>
                      <a:pt x="9" y="1"/>
                    </a:cubicBezTo>
                    <a:cubicBezTo>
                      <a:pt x="14" y="0"/>
                      <a:pt x="18" y="1"/>
                      <a:pt x="18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0" name="Freeform 92">
                <a:extLst>
                  <a:ext uri="{FF2B5EF4-FFF2-40B4-BE49-F238E27FC236}">
                    <a16:creationId xmlns:a16="http://schemas.microsoft.com/office/drawing/2014/main" id="{0D40CC48-7156-F975-2F55-F374C31B5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" y="2741"/>
                <a:ext cx="20" cy="18"/>
              </a:xfrm>
              <a:custGeom>
                <a:avLst/>
                <a:gdLst>
                  <a:gd name="T0" fmla="*/ 12 w 12"/>
                  <a:gd name="T1" fmla="*/ 11 h 11"/>
                  <a:gd name="T2" fmla="*/ 6 w 12"/>
                  <a:gd name="T3" fmla="*/ 6 h 11"/>
                  <a:gd name="T4" fmla="*/ 0 w 12"/>
                  <a:gd name="T5" fmla="*/ 1 h 11"/>
                  <a:gd name="T6" fmla="*/ 7 w 12"/>
                  <a:gd name="T7" fmla="*/ 5 h 11"/>
                  <a:gd name="T8" fmla="*/ 12 w 1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12" y="11"/>
                    </a:moveTo>
                    <a:cubicBezTo>
                      <a:pt x="12" y="11"/>
                      <a:pt x="9" y="9"/>
                      <a:pt x="6" y="6"/>
                    </a:cubicBezTo>
                    <a:cubicBezTo>
                      <a:pt x="2" y="4"/>
                      <a:pt x="0" y="1"/>
                      <a:pt x="0" y="1"/>
                    </a:cubicBezTo>
                    <a:cubicBezTo>
                      <a:pt x="1" y="0"/>
                      <a:pt x="4" y="2"/>
                      <a:pt x="7" y="5"/>
                    </a:cubicBezTo>
                    <a:cubicBezTo>
                      <a:pt x="10" y="8"/>
                      <a:pt x="12" y="10"/>
                      <a:pt x="12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1" name="Freeform 93">
                <a:extLst>
                  <a:ext uri="{FF2B5EF4-FFF2-40B4-BE49-F238E27FC236}">
                    <a16:creationId xmlns:a16="http://schemas.microsoft.com/office/drawing/2014/main" id="{7A52897C-6B9C-E21A-D1E8-50C16BC24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3" y="2708"/>
                <a:ext cx="5" cy="20"/>
              </a:xfrm>
              <a:custGeom>
                <a:avLst/>
                <a:gdLst>
                  <a:gd name="T0" fmla="*/ 2 w 3"/>
                  <a:gd name="T1" fmla="*/ 0 h 12"/>
                  <a:gd name="T2" fmla="*/ 3 w 3"/>
                  <a:gd name="T3" fmla="*/ 6 h 12"/>
                  <a:gd name="T4" fmla="*/ 2 w 3"/>
                  <a:gd name="T5" fmla="*/ 12 h 12"/>
                  <a:gd name="T6" fmla="*/ 1 w 3"/>
                  <a:gd name="T7" fmla="*/ 6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3" y="0"/>
                      <a:pt x="3" y="3"/>
                      <a:pt x="3" y="6"/>
                    </a:cubicBezTo>
                    <a:cubicBezTo>
                      <a:pt x="2" y="9"/>
                      <a:pt x="2" y="12"/>
                      <a:pt x="2" y="12"/>
                    </a:cubicBezTo>
                    <a:cubicBezTo>
                      <a:pt x="1" y="12"/>
                      <a:pt x="0" y="9"/>
                      <a:pt x="1" y="6"/>
                    </a:cubicBezTo>
                    <a:cubicBezTo>
                      <a:pt x="1" y="2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2" name="Freeform 94">
                <a:extLst>
                  <a:ext uri="{FF2B5EF4-FFF2-40B4-BE49-F238E27FC236}">
                    <a16:creationId xmlns:a16="http://schemas.microsoft.com/office/drawing/2014/main" id="{AAC51400-EE7F-CB34-FBB0-DFEE29806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7" y="2731"/>
                <a:ext cx="15" cy="18"/>
              </a:xfrm>
              <a:custGeom>
                <a:avLst/>
                <a:gdLst>
                  <a:gd name="T0" fmla="*/ 8 w 9"/>
                  <a:gd name="T1" fmla="*/ 0 h 11"/>
                  <a:gd name="T2" fmla="*/ 5 w 9"/>
                  <a:gd name="T3" fmla="*/ 6 h 11"/>
                  <a:gd name="T4" fmla="*/ 1 w 9"/>
                  <a:gd name="T5" fmla="*/ 11 h 11"/>
                  <a:gd name="T6" fmla="*/ 4 w 9"/>
                  <a:gd name="T7" fmla="*/ 5 h 11"/>
                  <a:gd name="T8" fmla="*/ 8 w 9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8" y="0"/>
                    </a:moveTo>
                    <a:cubicBezTo>
                      <a:pt x="9" y="1"/>
                      <a:pt x="7" y="3"/>
                      <a:pt x="5" y="6"/>
                    </a:cubicBezTo>
                    <a:cubicBezTo>
                      <a:pt x="3" y="9"/>
                      <a:pt x="1" y="11"/>
                      <a:pt x="1" y="11"/>
                    </a:cubicBezTo>
                    <a:cubicBezTo>
                      <a:pt x="0" y="11"/>
                      <a:pt x="2" y="8"/>
                      <a:pt x="4" y="5"/>
                    </a:cubicBezTo>
                    <a:cubicBezTo>
                      <a:pt x="6" y="2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3" name="Freeform 95">
                <a:extLst>
                  <a:ext uri="{FF2B5EF4-FFF2-40B4-BE49-F238E27FC236}">
                    <a16:creationId xmlns:a16="http://schemas.microsoft.com/office/drawing/2014/main" id="{6D8DDE18-5252-C3F4-246F-9B35632D3B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" y="2792"/>
                <a:ext cx="23" cy="10"/>
              </a:xfrm>
              <a:custGeom>
                <a:avLst/>
                <a:gdLst>
                  <a:gd name="T0" fmla="*/ 14 w 14"/>
                  <a:gd name="T1" fmla="*/ 1 h 6"/>
                  <a:gd name="T2" fmla="*/ 8 w 14"/>
                  <a:gd name="T3" fmla="*/ 4 h 6"/>
                  <a:gd name="T4" fmla="*/ 1 w 14"/>
                  <a:gd name="T5" fmla="*/ 6 h 6"/>
                  <a:gd name="T6" fmla="*/ 7 w 14"/>
                  <a:gd name="T7" fmla="*/ 2 h 6"/>
                  <a:gd name="T8" fmla="*/ 14 w 14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14" y="1"/>
                    </a:moveTo>
                    <a:cubicBezTo>
                      <a:pt x="14" y="1"/>
                      <a:pt x="11" y="3"/>
                      <a:pt x="8" y="4"/>
                    </a:cubicBezTo>
                    <a:cubicBezTo>
                      <a:pt x="4" y="6"/>
                      <a:pt x="1" y="6"/>
                      <a:pt x="1" y="6"/>
                    </a:cubicBezTo>
                    <a:cubicBezTo>
                      <a:pt x="0" y="5"/>
                      <a:pt x="3" y="4"/>
                      <a:pt x="7" y="2"/>
                    </a:cubicBezTo>
                    <a:cubicBezTo>
                      <a:pt x="10" y="1"/>
                      <a:pt x="13" y="0"/>
                      <a:pt x="14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4" name="Freeform 96">
                <a:extLst>
                  <a:ext uri="{FF2B5EF4-FFF2-40B4-BE49-F238E27FC236}">
                    <a16:creationId xmlns:a16="http://schemas.microsoft.com/office/drawing/2014/main" id="{2BF52A38-70C5-CFEC-3010-ECC0B3F95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" y="2855"/>
                <a:ext cx="30" cy="10"/>
              </a:xfrm>
              <a:custGeom>
                <a:avLst/>
                <a:gdLst>
                  <a:gd name="T0" fmla="*/ 18 w 18"/>
                  <a:gd name="T1" fmla="*/ 1 h 6"/>
                  <a:gd name="T2" fmla="*/ 9 w 18"/>
                  <a:gd name="T3" fmla="*/ 5 h 6"/>
                  <a:gd name="T4" fmla="*/ 0 w 18"/>
                  <a:gd name="T5" fmla="*/ 5 h 6"/>
                  <a:gd name="T6" fmla="*/ 9 w 18"/>
                  <a:gd name="T7" fmla="*/ 3 h 6"/>
                  <a:gd name="T8" fmla="*/ 18 w 18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6">
                    <a:moveTo>
                      <a:pt x="18" y="1"/>
                    </a:moveTo>
                    <a:cubicBezTo>
                      <a:pt x="18" y="1"/>
                      <a:pt x="14" y="4"/>
                      <a:pt x="9" y="5"/>
                    </a:cubicBezTo>
                    <a:cubicBezTo>
                      <a:pt x="4" y="6"/>
                      <a:pt x="0" y="5"/>
                      <a:pt x="0" y="5"/>
                    </a:cubicBezTo>
                    <a:cubicBezTo>
                      <a:pt x="0" y="4"/>
                      <a:pt x="4" y="4"/>
                      <a:pt x="9" y="3"/>
                    </a:cubicBezTo>
                    <a:cubicBezTo>
                      <a:pt x="14" y="2"/>
                      <a:pt x="17" y="0"/>
                      <a:pt x="18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5" name="Freeform 97">
                <a:extLst>
                  <a:ext uri="{FF2B5EF4-FFF2-40B4-BE49-F238E27FC236}">
                    <a16:creationId xmlns:a16="http://schemas.microsoft.com/office/drawing/2014/main" id="{9E7530A4-0F13-00AC-0083-0E228EDD7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8" y="2820"/>
                <a:ext cx="8" cy="18"/>
              </a:xfrm>
              <a:custGeom>
                <a:avLst/>
                <a:gdLst>
                  <a:gd name="T0" fmla="*/ 1 w 5"/>
                  <a:gd name="T1" fmla="*/ 11 h 11"/>
                  <a:gd name="T2" fmla="*/ 2 w 5"/>
                  <a:gd name="T3" fmla="*/ 5 h 11"/>
                  <a:gd name="T4" fmla="*/ 4 w 5"/>
                  <a:gd name="T5" fmla="*/ 0 h 11"/>
                  <a:gd name="T6" fmla="*/ 4 w 5"/>
                  <a:gd name="T7" fmla="*/ 6 h 11"/>
                  <a:gd name="T8" fmla="*/ 1 w 5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1">
                    <a:moveTo>
                      <a:pt x="1" y="11"/>
                    </a:moveTo>
                    <a:cubicBezTo>
                      <a:pt x="0" y="11"/>
                      <a:pt x="1" y="8"/>
                      <a:pt x="2" y="5"/>
                    </a:cubicBezTo>
                    <a:cubicBezTo>
                      <a:pt x="3" y="2"/>
                      <a:pt x="4" y="0"/>
                      <a:pt x="4" y="0"/>
                    </a:cubicBezTo>
                    <a:cubicBezTo>
                      <a:pt x="5" y="0"/>
                      <a:pt x="5" y="3"/>
                      <a:pt x="4" y="6"/>
                    </a:cubicBezTo>
                    <a:cubicBezTo>
                      <a:pt x="3" y="9"/>
                      <a:pt x="1" y="11"/>
                      <a:pt x="1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6" name="Freeform 98">
                <a:extLst>
                  <a:ext uri="{FF2B5EF4-FFF2-40B4-BE49-F238E27FC236}">
                    <a16:creationId xmlns:a16="http://schemas.microsoft.com/office/drawing/2014/main" id="{EC37EB26-F0BA-0AC0-6A27-FDD814445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3" y="2893"/>
                <a:ext cx="11" cy="24"/>
              </a:xfrm>
              <a:custGeom>
                <a:avLst/>
                <a:gdLst>
                  <a:gd name="T0" fmla="*/ 0 w 7"/>
                  <a:gd name="T1" fmla="*/ 15 h 15"/>
                  <a:gd name="T2" fmla="*/ 3 w 7"/>
                  <a:gd name="T3" fmla="*/ 7 h 15"/>
                  <a:gd name="T4" fmla="*/ 7 w 7"/>
                  <a:gd name="T5" fmla="*/ 0 h 15"/>
                  <a:gd name="T6" fmla="*/ 4 w 7"/>
                  <a:gd name="T7" fmla="*/ 8 h 15"/>
                  <a:gd name="T8" fmla="*/ 0 w 7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5">
                    <a:moveTo>
                      <a:pt x="0" y="15"/>
                    </a:moveTo>
                    <a:cubicBezTo>
                      <a:pt x="0" y="15"/>
                      <a:pt x="1" y="11"/>
                      <a:pt x="3" y="7"/>
                    </a:cubicBezTo>
                    <a:cubicBezTo>
                      <a:pt x="5" y="3"/>
                      <a:pt x="6" y="0"/>
                      <a:pt x="7" y="0"/>
                    </a:cubicBezTo>
                    <a:cubicBezTo>
                      <a:pt x="7" y="0"/>
                      <a:pt x="6" y="4"/>
                      <a:pt x="4" y="8"/>
                    </a:cubicBezTo>
                    <a:cubicBezTo>
                      <a:pt x="3" y="12"/>
                      <a:pt x="1" y="15"/>
                      <a:pt x="0" y="1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7" name="Freeform 99">
                <a:extLst>
                  <a:ext uri="{FF2B5EF4-FFF2-40B4-BE49-F238E27FC236}">
                    <a16:creationId xmlns:a16="http://schemas.microsoft.com/office/drawing/2014/main" id="{A6E1CE70-9079-16F8-11AC-F11C8E619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5" y="2931"/>
                <a:ext cx="25" cy="9"/>
              </a:xfrm>
              <a:custGeom>
                <a:avLst/>
                <a:gdLst>
                  <a:gd name="T0" fmla="*/ 15 w 15"/>
                  <a:gd name="T1" fmla="*/ 5 h 6"/>
                  <a:gd name="T2" fmla="*/ 7 w 15"/>
                  <a:gd name="T3" fmla="*/ 4 h 6"/>
                  <a:gd name="T4" fmla="*/ 0 w 15"/>
                  <a:gd name="T5" fmla="*/ 1 h 6"/>
                  <a:gd name="T6" fmla="*/ 8 w 15"/>
                  <a:gd name="T7" fmla="*/ 2 h 6"/>
                  <a:gd name="T8" fmla="*/ 15 w 15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">
                    <a:moveTo>
                      <a:pt x="15" y="5"/>
                    </a:moveTo>
                    <a:cubicBezTo>
                      <a:pt x="15" y="6"/>
                      <a:pt x="11" y="5"/>
                      <a:pt x="7" y="4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4" y="0"/>
                      <a:pt x="8" y="2"/>
                    </a:cubicBezTo>
                    <a:cubicBezTo>
                      <a:pt x="12" y="3"/>
                      <a:pt x="15" y="5"/>
                      <a:pt x="15" y="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8" name="Freeform 100">
                <a:extLst>
                  <a:ext uri="{FF2B5EF4-FFF2-40B4-BE49-F238E27FC236}">
                    <a16:creationId xmlns:a16="http://schemas.microsoft.com/office/drawing/2014/main" id="{BDB5A529-631D-0F43-F0C4-4F96C66DF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0" y="3003"/>
                <a:ext cx="19" cy="15"/>
              </a:xfrm>
              <a:custGeom>
                <a:avLst/>
                <a:gdLst>
                  <a:gd name="T0" fmla="*/ 12 w 12"/>
                  <a:gd name="T1" fmla="*/ 1 h 9"/>
                  <a:gd name="T2" fmla="*/ 7 w 12"/>
                  <a:gd name="T3" fmla="*/ 5 h 9"/>
                  <a:gd name="T4" fmla="*/ 0 w 12"/>
                  <a:gd name="T5" fmla="*/ 9 h 9"/>
                  <a:gd name="T6" fmla="*/ 5 w 12"/>
                  <a:gd name="T7" fmla="*/ 4 h 9"/>
                  <a:gd name="T8" fmla="*/ 12 w 1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12" y="1"/>
                    </a:moveTo>
                    <a:cubicBezTo>
                      <a:pt x="12" y="1"/>
                      <a:pt x="10" y="3"/>
                      <a:pt x="7" y="5"/>
                    </a:cubicBezTo>
                    <a:cubicBezTo>
                      <a:pt x="3" y="8"/>
                      <a:pt x="1" y="9"/>
                      <a:pt x="0" y="9"/>
                    </a:cubicBezTo>
                    <a:cubicBezTo>
                      <a:pt x="0" y="8"/>
                      <a:pt x="2" y="6"/>
                      <a:pt x="5" y="4"/>
                    </a:cubicBezTo>
                    <a:cubicBezTo>
                      <a:pt x="9" y="2"/>
                      <a:pt x="11" y="0"/>
                      <a:pt x="12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9" name="Freeform 101">
                <a:extLst>
                  <a:ext uri="{FF2B5EF4-FFF2-40B4-BE49-F238E27FC236}">
                    <a16:creationId xmlns:a16="http://schemas.microsoft.com/office/drawing/2014/main" id="{A4F785AA-3933-2551-7224-CA9A0E7F3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3" y="3067"/>
                <a:ext cx="21" cy="7"/>
              </a:xfrm>
              <a:custGeom>
                <a:avLst/>
                <a:gdLst>
                  <a:gd name="T0" fmla="*/ 13 w 13"/>
                  <a:gd name="T1" fmla="*/ 1 h 4"/>
                  <a:gd name="T2" fmla="*/ 7 w 13"/>
                  <a:gd name="T3" fmla="*/ 3 h 4"/>
                  <a:gd name="T4" fmla="*/ 0 w 13"/>
                  <a:gd name="T5" fmla="*/ 4 h 4"/>
                  <a:gd name="T6" fmla="*/ 6 w 13"/>
                  <a:gd name="T7" fmla="*/ 1 h 4"/>
                  <a:gd name="T8" fmla="*/ 13 w 13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">
                    <a:moveTo>
                      <a:pt x="13" y="1"/>
                    </a:moveTo>
                    <a:cubicBezTo>
                      <a:pt x="13" y="1"/>
                      <a:pt x="10" y="2"/>
                      <a:pt x="7" y="3"/>
                    </a:cubicBezTo>
                    <a:cubicBezTo>
                      <a:pt x="3" y="4"/>
                      <a:pt x="0" y="4"/>
                      <a:pt x="0" y="4"/>
                    </a:cubicBezTo>
                    <a:cubicBezTo>
                      <a:pt x="0" y="3"/>
                      <a:pt x="3" y="2"/>
                      <a:pt x="6" y="1"/>
                    </a:cubicBezTo>
                    <a:cubicBezTo>
                      <a:pt x="10" y="0"/>
                      <a:pt x="13" y="0"/>
                      <a:pt x="1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0" name="Freeform 102">
                <a:extLst>
                  <a:ext uri="{FF2B5EF4-FFF2-40B4-BE49-F238E27FC236}">
                    <a16:creationId xmlns:a16="http://schemas.microsoft.com/office/drawing/2014/main" id="{A2D609FD-1369-0A56-358C-07DB36F26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2909"/>
                <a:ext cx="22" cy="10"/>
              </a:xfrm>
              <a:custGeom>
                <a:avLst/>
                <a:gdLst>
                  <a:gd name="T0" fmla="*/ 13 w 13"/>
                  <a:gd name="T1" fmla="*/ 1 h 6"/>
                  <a:gd name="T2" fmla="*/ 7 w 13"/>
                  <a:gd name="T3" fmla="*/ 4 h 6"/>
                  <a:gd name="T4" fmla="*/ 0 w 13"/>
                  <a:gd name="T5" fmla="*/ 5 h 6"/>
                  <a:gd name="T6" fmla="*/ 6 w 13"/>
                  <a:gd name="T7" fmla="*/ 2 h 6"/>
                  <a:gd name="T8" fmla="*/ 13 w 13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6">
                    <a:moveTo>
                      <a:pt x="13" y="1"/>
                    </a:moveTo>
                    <a:cubicBezTo>
                      <a:pt x="13" y="1"/>
                      <a:pt x="11" y="3"/>
                      <a:pt x="7" y="4"/>
                    </a:cubicBezTo>
                    <a:cubicBezTo>
                      <a:pt x="4" y="6"/>
                      <a:pt x="1" y="6"/>
                      <a:pt x="0" y="5"/>
                    </a:cubicBezTo>
                    <a:cubicBezTo>
                      <a:pt x="0" y="5"/>
                      <a:pt x="3" y="4"/>
                      <a:pt x="6" y="2"/>
                    </a:cubicBezTo>
                    <a:cubicBezTo>
                      <a:pt x="10" y="1"/>
                      <a:pt x="12" y="0"/>
                      <a:pt x="1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1" name="Freeform 103">
                <a:extLst>
                  <a:ext uri="{FF2B5EF4-FFF2-40B4-BE49-F238E27FC236}">
                    <a16:creationId xmlns:a16="http://schemas.microsoft.com/office/drawing/2014/main" id="{FA4431AF-168F-812E-8A4F-1F2D0611E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3000"/>
                <a:ext cx="19" cy="11"/>
              </a:xfrm>
              <a:custGeom>
                <a:avLst/>
                <a:gdLst>
                  <a:gd name="T0" fmla="*/ 12 w 12"/>
                  <a:gd name="T1" fmla="*/ 6 h 7"/>
                  <a:gd name="T2" fmla="*/ 6 w 12"/>
                  <a:gd name="T3" fmla="*/ 4 h 7"/>
                  <a:gd name="T4" fmla="*/ 0 w 12"/>
                  <a:gd name="T5" fmla="*/ 1 h 7"/>
                  <a:gd name="T6" fmla="*/ 7 w 12"/>
                  <a:gd name="T7" fmla="*/ 3 h 7"/>
                  <a:gd name="T8" fmla="*/ 12 w 12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6"/>
                    </a:moveTo>
                    <a:cubicBezTo>
                      <a:pt x="12" y="7"/>
                      <a:pt x="9" y="6"/>
                      <a:pt x="6" y="4"/>
                    </a:cubicBezTo>
                    <a:cubicBezTo>
                      <a:pt x="2" y="3"/>
                      <a:pt x="0" y="1"/>
                      <a:pt x="0" y="1"/>
                    </a:cubicBezTo>
                    <a:cubicBezTo>
                      <a:pt x="0" y="0"/>
                      <a:pt x="3" y="1"/>
                      <a:pt x="7" y="3"/>
                    </a:cubicBezTo>
                    <a:cubicBezTo>
                      <a:pt x="10" y="4"/>
                      <a:pt x="12" y="6"/>
                      <a:pt x="12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2" name="Freeform 104">
                <a:extLst>
                  <a:ext uri="{FF2B5EF4-FFF2-40B4-BE49-F238E27FC236}">
                    <a16:creationId xmlns:a16="http://schemas.microsoft.com/office/drawing/2014/main" id="{75C35D3C-DE80-BB40-44D2-27A3184EA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6" y="3071"/>
                <a:ext cx="27" cy="11"/>
              </a:xfrm>
              <a:custGeom>
                <a:avLst/>
                <a:gdLst>
                  <a:gd name="T0" fmla="*/ 16 w 16"/>
                  <a:gd name="T1" fmla="*/ 7 h 7"/>
                  <a:gd name="T2" fmla="*/ 8 w 16"/>
                  <a:gd name="T3" fmla="*/ 5 h 7"/>
                  <a:gd name="T4" fmla="*/ 0 w 16"/>
                  <a:gd name="T5" fmla="*/ 1 h 7"/>
                  <a:gd name="T6" fmla="*/ 8 w 16"/>
                  <a:gd name="T7" fmla="*/ 3 h 7"/>
                  <a:gd name="T8" fmla="*/ 16 w 16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">
                    <a:moveTo>
                      <a:pt x="16" y="7"/>
                    </a:moveTo>
                    <a:cubicBezTo>
                      <a:pt x="16" y="7"/>
                      <a:pt x="12" y="6"/>
                      <a:pt x="8" y="5"/>
                    </a:cubicBezTo>
                    <a:cubicBezTo>
                      <a:pt x="3" y="3"/>
                      <a:pt x="0" y="1"/>
                      <a:pt x="0" y="1"/>
                    </a:cubicBezTo>
                    <a:cubicBezTo>
                      <a:pt x="0" y="0"/>
                      <a:pt x="4" y="1"/>
                      <a:pt x="8" y="3"/>
                    </a:cubicBezTo>
                    <a:cubicBezTo>
                      <a:pt x="13" y="5"/>
                      <a:pt x="16" y="6"/>
                      <a:pt x="16" y="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3" name="Freeform 105">
                <a:extLst>
                  <a:ext uri="{FF2B5EF4-FFF2-40B4-BE49-F238E27FC236}">
                    <a16:creationId xmlns:a16="http://schemas.microsoft.com/office/drawing/2014/main" id="{278246DD-A1C5-EC99-ACB4-1A1EE2B83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7" y="3118"/>
                <a:ext cx="25" cy="20"/>
              </a:xfrm>
              <a:custGeom>
                <a:avLst/>
                <a:gdLst>
                  <a:gd name="T0" fmla="*/ 0 w 15"/>
                  <a:gd name="T1" fmla="*/ 12 h 12"/>
                  <a:gd name="T2" fmla="*/ 7 w 15"/>
                  <a:gd name="T3" fmla="*/ 6 h 12"/>
                  <a:gd name="T4" fmla="*/ 15 w 15"/>
                  <a:gd name="T5" fmla="*/ 0 h 12"/>
                  <a:gd name="T6" fmla="*/ 9 w 15"/>
                  <a:gd name="T7" fmla="*/ 8 h 12"/>
                  <a:gd name="T8" fmla="*/ 0 w 15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2">
                    <a:moveTo>
                      <a:pt x="0" y="12"/>
                    </a:moveTo>
                    <a:cubicBezTo>
                      <a:pt x="0" y="12"/>
                      <a:pt x="3" y="9"/>
                      <a:pt x="7" y="6"/>
                    </a:cubicBezTo>
                    <a:cubicBezTo>
                      <a:pt x="11" y="3"/>
                      <a:pt x="15" y="0"/>
                      <a:pt x="15" y="0"/>
                    </a:cubicBezTo>
                    <a:cubicBezTo>
                      <a:pt x="15" y="1"/>
                      <a:pt x="13" y="4"/>
                      <a:pt x="9" y="8"/>
                    </a:cubicBezTo>
                    <a:cubicBezTo>
                      <a:pt x="4" y="11"/>
                      <a:pt x="0" y="12"/>
                      <a:pt x="0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4" name="Freeform 106">
                <a:extLst>
                  <a:ext uri="{FF2B5EF4-FFF2-40B4-BE49-F238E27FC236}">
                    <a16:creationId xmlns:a16="http://schemas.microsoft.com/office/drawing/2014/main" id="{0E413005-7480-F332-135C-AAE630551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5" y="3080"/>
                <a:ext cx="10" cy="22"/>
              </a:xfrm>
              <a:custGeom>
                <a:avLst/>
                <a:gdLst>
                  <a:gd name="T0" fmla="*/ 6 w 6"/>
                  <a:gd name="T1" fmla="*/ 13 h 13"/>
                  <a:gd name="T2" fmla="*/ 3 w 6"/>
                  <a:gd name="T3" fmla="*/ 7 h 13"/>
                  <a:gd name="T4" fmla="*/ 1 w 6"/>
                  <a:gd name="T5" fmla="*/ 0 h 13"/>
                  <a:gd name="T6" fmla="*/ 5 w 6"/>
                  <a:gd name="T7" fmla="*/ 6 h 13"/>
                  <a:gd name="T8" fmla="*/ 6 w 6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3">
                    <a:moveTo>
                      <a:pt x="6" y="13"/>
                    </a:moveTo>
                    <a:cubicBezTo>
                      <a:pt x="5" y="13"/>
                      <a:pt x="4" y="10"/>
                      <a:pt x="3" y="7"/>
                    </a:cubicBezTo>
                    <a:cubicBezTo>
                      <a:pt x="2" y="3"/>
                      <a:pt x="0" y="1"/>
                      <a:pt x="1" y="0"/>
                    </a:cubicBezTo>
                    <a:cubicBezTo>
                      <a:pt x="1" y="0"/>
                      <a:pt x="3" y="2"/>
                      <a:pt x="5" y="6"/>
                    </a:cubicBezTo>
                    <a:cubicBezTo>
                      <a:pt x="6" y="10"/>
                      <a:pt x="6" y="13"/>
                      <a:pt x="6" y="1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5" name="Freeform 107">
                <a:extLst>
                  <a:ext uri="{FF2B5EF4-FFF2-40B4-BE49-F238E27FC236}">
                    <a16:creationId xmlns:a16="http://schemas.microsoft.com/office/drawing/2014/main" id="{CE03107C-F4E6-231C-F4C5-0B17B0394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4" y="3005"/>
                <a:ext cx="16" cy="11"/>
              </a:xfrm>
              <a:custGeom>
                <a:avLst/>
                <a:gdLst>
                  <a:gd name="T0" fmla="*/ 9 w 10"/>
                  <a:gd name="T1" fmla="*/ 7 h 7"/>
                  <a:gd name="T2" fmla="*/ 5 w 10"/>
                  <a:gd name="T3" fmla="*/ 4 h 7"/>
                  <a:gd name="T4" fmla="*/ 1 w 10"/>
                  <a:gd name="T5" fmla="*/ 0 h 7"/>
                  <a:gd name="T6" fmla="*/ 6 w 10"/>
                  <a:gd name="T7" fmla="*/ 3 h 7"/>
                  <a:gd name="T8" fmla="*/ 9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9" y="7"/>
                    </a:moveTo>
                    <a:cubicBezTo>
                      <a:pt x="9" y="7"/>
                      <a:pt x="7" y="6"/>
                      <a:pt x="5" y="4"/>
                    </a:cubicBezTo>
                    <a:cubicBezTo>
                      <a:pt x="2" y="2"/>
                      <a:pt x="0" y="1"/>
                      <a:pt x="1" y="0"/>
                    </a:cubicBezTo>
                    <a:cubicBezTo>
                      <a:pt x="1" y="0"/>
                      <a:pt x="3" y="1"/>
                      <a:pt x="6" y="3"/>
                    </a:cubicBezTo>
                    <a:cubicBezTo>
                      <a:pt x="8" y="4"/>
                      <a:pt x="10" y="6"/>
                      <a:pt x="9" y="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6" name="Freeform 108">
                <a:extLst>
                  <a:ext uri="{FF2B5EF4-FFF2-40B4-BE49-F238E27FC236}">
                    <a16:creationId xmlns:a16="http://schemas.microsoft.com/office/drawing/2014/main" id="{0EA47473-5792-7131-3AD5-55C0AF2E71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4" y="2880"/>
                <a:ext cx="18" cy="14"/>
              </a:xfrm>
              <a:custGeom>
                <a:avLst/>
                <a:gdLst>
                  <a:gd name="T0" fmla="*/ 11 w 11"/>
                  <a:gd name="T1" fmla="*/ 1 h 9"/>
                  <a:gd name="T2" fmla="*/ 6 w 11"/>
                  <a:gd name="T3" fmla="*/ 5 h 9"/>
                  <a:gd name="T4" fmla="*/ 0 w 11"/>
                  <a:gd name="T5" fmla="*/ 9 h 9"/>
                  <a:gd name="T6" fmla="*/ 5 w 11"/>
                  <a:gd name="T7" fmla="*/ 4 h 9"/>
                  <a:gd name="T8" fmla="*/ 11 w 11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11" y="1"/>
                    </a:moveTo>
                    <a:cubicBezTo>
                      <a:pt x="11" y="1"/>
                      <a:pt x="9" y="3"/>
                      <a:pt x="6" y="5"/>
                    </a:cubicBezTo>
                    <a:cubicBezTo>
                      <a:pt x="3" y="8"/>
                      <a:pt x="0" y="9"/>
                      <a:pt x="0" y="9"/>
                    </a:cubicBezTo>
                    <a:cubicBezTo>
                      <a:pt x="0" y="8"/>
                      <a:pt x="2" y="6"/>
                      <a:pt x="5" y="4"/>
                    </a:cubicBezTo>
                    <a:cubicBezTo>
                      <a:pt x="8" y="2"/>
                      <a:pt x="10" y="0"/>
                      <a:pt x="11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7" name="Freeform 109">
                <a:extLst>
                  <a:ext uri="{FF2B5EF4-FFF2-40B4-BE49-F238E27FC236}">
                    <a16:creationId xmlns:a16="http://schemas.microsoft.com/office/drawing/2014/main" id="{AC0ACE28-32F7-3424-0463-D16883562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7" y="2931"/>
                <a:ext cx="25" cy="6"/>
              </a:xfrm>
              <a:custGeom>
                <a:avLst/>
                <a:gdLst>
                  <a:gd name="T0" fmla="*/ 15 w 15"/>
                  <a:gd name="T1" fmla="*/ 3 h 4"/>
                  <a:gd name="T2" fmla="*/ 7 w 15"/>
                  <a:gd name="T3" fmla="*/ 3 h 4"/>
                  <a:gd name="T4" fmla="*/ 0 w 15"/>
                  <a:gd name="T5" fmla="*/ 1 h 4"/>
                  <a:gd name="T6" fmla="*/ 7 w 15"/>
                  <a:gd name="T7" fmla="*/ 1 h 4"/>
                  <a:gd name="T8" fmla="*/ 15 w 15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">
                    <a:moveTo>
                      <a:pt x="15" y="3"/>
                    </a:moveTo>
                    <a:cubicBezTo>
                      <a:pt x="15" y="3"/>
                      <a:pt x="11" y="4"/>
                      <a:pt x="7" y="3"/>
                    </a:cubicBezTo>
                    <a:cubicBezTo>
                      <a:pt x="3" y="3"/>
                      <a:pt x="0" y="2"/>
                      <a:pt x="0" y="1"/>
                    </a:cubicBezTo>
                    <a:cubicBezTo>
                      <a:pt x="0" y="0"/>
                      <a:pt x="3" y="1"/>
                      <a:pt x="7" y="1"/>
                    </a:cubicBezTo>
                    <a:cubicBezTo>
                      <a:pt x="11" y="2"/>
                      <a:pt x="15" y="2"/>
                      <a:pt x="15" y="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8" name="Freeform 110">
                <a:extLst>
                  <a:ext uri="{FF2B5EF4-FFF2-40B4-BE49-F238E27FC236}">
                    <a16:creationId xmlns:a16="http://schemas.microsoft.com/office/drawing/2014/main" id="{F119F3E4-B0D1-C233-33B8-EDBB1283B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" y="2945"/>
                <a:ext cx="25" cy="5"/>
              </a:xfrm>
              <a:custGeom>
                <a:avLst/>
                <a:gdLst>
                  <a:gd name="T0" fmla="*/ 15 w 15"/>
                  <a:gd name="T1" fmla="*/ 1 h 3"/>
                  <a:gd name="T2" fmla="*/ 8 w 15"/>
                  <a:gd name="T3" fmla="*/ 3 h 3"/>
                  <a:gd name="T4" fmla="*/ 0 w 15"/>
                  <a:gd name="T5" fmla="*/ 2 h 3"/>
                  <a:gd name="T6" fmla="*/ 8 w 15"/>
                  <a:gd name="T7" fmla="*/ 1 h 3"/>
                  <a:gd name="T8" fmla="*/ 15 w 15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">
                    <a:moveTo>
                      <a:pt x="15" y="1"/>
                    </a:moveTo>
                    <a:cubicBezTo>
                      <a:pt x="15" y="2"/>
                      <a:pt x="12" y="3"/>
                      <a:pt x="8" y="3"/>
                    </a:cubicBezTo>
                    <a:cubicBezTo>
                      <a:pt x="4" y="3"/>
                      <a:pt x="0" y="2"/>
                      <a:pt x="0" y="2"/>
                    </a:cubicBezTo>
                    <a:cubicBezTo>
                      <a:pt x="0" y="1"/>
                      <a:pt x="4" y="1"/>
                      <a:pt x="8" y="1"/>
                    </a:cubicBezTo>
                    <a:cubicBezTo>
                      <a:pt x="11" y="1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9" name="Freeform 111">
                <a:extLst>
                  <a:ext uri="{FF2B5EF4-FFF2-40B4-BE49-F238E27FC236}">
                    <a16:creationId xmlns:a16="http://schemas.microsoft.com/office/drawing/2014/main" id="{D26917AB-F9DA-6544-D399-C0907375E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3" y="2886"/>
                <a:ext cx="20" cy="10"/>
              </a:xfrm>
              <a:custGeom>
                <a:avLst/>
                <a:gdLst>
                  <a:gd name="T0" fmla="*/ 12 w 12"/>
                  <a:gd name="T1" fmla="*/ 6 h 6"/>
                  <a:gd name="T2" fmla="*/ 6 w 12"/>
                  <a:gd name="T3" fmla="*/ 5 h 6"/>
                  <a:gd name="T4" fmla="*/ 0 w 12"/>
                  <a:gd name="T5" fmla="*/ 0 h 6"/>
                  <a:gd name="T6" fmla="*/ 6 w 12"/>
                  <a:gd name="T7" fmla="*/ 3 h 6"/>
                  <a:gd name="T8" fmla="*/ 12 w 1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12" y="6"/>
                    </a:moveTo>
                    <a:cubicBezTo>
                      <a:pt x="12" y="6"/>
                      <a:pt x="9" y="6"/>
                      <a:pt x="6" y="5"/>
                    </a:cubicBezTo>
                    <a:cubicBezTo>
                      <a:pt x="2" y="3"/>
                      <a:pt x="0" y="1"/>
                      <a:pt x="0" y="0"/>
                    </a:cubicBezTo>
                    <a:cubicBezTo>
                      <a:pt x="1" y="0"/>
                      <a:pt x="3" y="2"/>
                      <a:pt x="6" y="3"/>
                    </a:cubicBezTo>
                    <a:cubicBezTo>
                      <a:pt x="10" y="4"/>
                      <a:pt x="12" y="5"/>
                      <a:pt x="12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0" name="Freeform 112">
                <a:extLst>
                  <a:ext uri="{FF2B5EF4-FFF2-40B4-BE49-F238E27FC236}">
                    <a16:creationId xmlns:a16="http://schemas.microsoft.com/office/drawing/2014/main" id="{0A1B6B1C-2BBA-4D6C-3C2D-A9E58C7C5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5" y="2978"/>
                <a:ext cx="23" cy="17"/>
              </a:xfrm>
              <a:custGeom>
                <a:avLst/>
                <a:gdLst>
                  <a:gd name="T0" fmla="*/ 14 w 14"/>
                  <a:gd name="T1" fmla="*/ 9 h 10"/>
                  <a:gd name="T2" fmla="*/ 7 w 14"/>
                  <a:gd name="T3" fmla="*/ 6 h 10"/>
                  <a:gd name="T4" fmla="*/ 1 w 14"/>
                  <a:gd name="T5" fmla="*/ 1 h 10"/>
                  <a:gd name="T6" fmla="*/ 8 w 14"/>
                  <a:gd name="T7" fmla="*/ 4 h 10"/>
                  <a:gd name="T8" fmla="*/ 14 w 14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0">
                    <a:moveTo>
                      <a:pt x="14" y="9"/>
                    </a:moveTo>
                    <a:cubicBezTo>
                      <a:pt x="14" y="10"/>
                      <a:pt x="11" y="8"/>
                      <a:pt x="7" y="6"/>
                    </a:cubicBezTo>
                    <a:cubicBezTo>
                      <a:pt x="3" y="3"/>
                      <a:pt x="0" y="1"/>
                      <a:pt x="1" y="1"/>
                    </a:cubicBezTo>
                    <a:cubicBezTo>
                      <a:pt x="1" y="0"/>
                      <a:pt x="4" y="2"/>
                      <a:pt x="8" y="4"/>
                    </a:cubicBezTo>
                    <a:cubicBezTo>
                      <a:pt x="12" y="6"/>
                      <a:pt x="14" y="9"/>
                      <a:pt x="14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1" name="Rectangle 113">
                <a:extLst>
                  <a:ext uri="{FF2B5EF4-FFF2-40B4-BE49-F238E27FC236}">
                    <a16:creationId xmlns:a16="http://schemas.microsoft.com/office/drawing/2014/main" id="{2299CE9B-992D-3782-3EBF-61A2480608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1" y="3146"/>
                <a:ext cx="456" cy="81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2" name="Freeform 114">
                <a:extLst>
                  <a:ext uri="{FF2B5EF4-FFF2-40B4-BE49-F238E27FC236}">
                    <a16:creationId xmlns:a16="http://schemas.microsoft.com/office/drawing/2014/main" id="{7AE05797-17EF-AABD-9C8E-580A729CD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6" y="3211"/>
                <a:ext cx="387" cy="242"/>
              </a:xfrm>
              <a:custGeom>
                <a:avLst/>
                <a:gdLst>
                  <a:gd name="T0" fmla="*/ 0 w 387"/>
                  <a:gd name="T1" fmla="*/ 0 h 242"/>
                  <a:gd name="T2" fmla="*/ 54 w 387"/>
                  <a:gd name="T3" fmla="*/ 242 h 242"/>
                  <a:gd name="T4" fmla="*/ 326 w 387"/>
                  <a:gd name="T5" fmla="*/ 242 h 242"/>
                  <a:gd name="T6" fmla="*/ 387 w 387"/>
                  <a:gd name="T7" fmla="*/ 0 h 242"/>
                  <a:gd name="T8" fmla="*/ 0 w 387"/>
                  <a:gd name="T9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7" h="242">
                    <a:moveTo>
                      <a:pt x="0" y="0"/>
                    </a:moveTo>
                    <a:lnTo>
                      <a:pt x="54" y="242"/>
                    </a:lnTo>
                    <a:lnTo>
                      <a:pt x="326" y="242"/>
                    </a:lnTo>
                    <a:lnTo>
                      <a:pt x="38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3" name="Oval 115">
                <a:extLst>
                  <a:ext uri="{FF2B5EF4-FFF2-40B4-BE49-F238E27FC236}">
                    <a16:creationId xmlns:a16="http://schemas.microsoft.com/office/drawing/2014/main" id="{C073EC7B-19A8-EB0D-990B-580DC92F53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68" y="3225"/>
                <a:ext cx="459" cy="4"/>
              </a:xfrm>
              <a:prstGeom prst="ellipse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4" name="Freeform 116">
                <a:extLst>
                  <a:ext uri="{FF2B5EF4-FFF2-40B4-BE49-F238E27FC236}">
                    <a16:creationId xmlns:a16="http://schemas.microsoft.com/office/drawing/2014/main" id="{7B52EB0A-7894-7220-E30F-6271F81CA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1" y="2931"/>
                <a:ext cx="13" cy="18"/>
              </a:xfrm>
              <a:custGeom>
                <a:avLst/>
                <a:gdLst>
                  <a:gd name="T0" fmla="*/ 8 w 8"/>
                  <a:gd name="T1" fmla="*/ 11 h 11"/>
                  <a:gd name="T2" fmla="*/ 3 w 8"/>
                  <a:gd name="T3" fmla="*/ 6 h 11"/>
                  <a:gd name="T4" fmla="*/ 1 w 8"/>
                  <a:gd name="T5" fmla="*/ 0 h 11"/>
                  <a:gd name="T6" fmla="*/ 5 w 8"/>
                  <a:gd name="T7" fmla="*/ 5 h 11"/>
                  <a:gd name="T8" fmla="*/ 8 w 8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8" y="11"/>
                    </a:moveTo>
                    <a:cubicBezTo>
                      <a:pt x="7" y="11"/>
                      <a:pt x="5" y="9"/>
                      <a:pt x="3" y="6"/>
                    </a:cubicBezTo>
                    <a:cubicBezTo>
                      <a:pt x="2" y="3"/>
                      <a:pt x="0" y="0"/>
                      <a:pt x="1" y="0"/>
                    </a:cubicBezTo>
                    <a:cubicBezTo>
                      <a:pt x="1" y="0"/>
                      <a:pt x="3" y="2"/>
                      <a:pt x="5" y="5"/>
                    </a:cubicBezTo>
                    <a:cubicBezTo>
                      <a:pt x="7" y="8"/>
                      <a:pt x="8" y="11"/>
                      <a:pt x="8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5" name="Freeform 117">
                <a:extLst>
                  <a:ext uri="{FF2B5EF4-FFF2-40B4-BE49-F238E27FC236}">
                    <a16:creationId xmlns:a16="http://schemas.microsoft.com/office/drawing/2014/main" id="{21EF5EE5-BD34-4F7F-4B34-BA429A9A27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2" y="2990"/>
                <a:ext cx="10" cy="25"/>
              </a:xfrm>
              <a:custGeom>
                <a:avLst/>
                <a:gdLst>
                  <a:gd name="T0" fmla="*/ 1 w 6"/>
                  <a:gd name="T1" fmla="*/ 15 h 15"/>
                  <a:gd name="T2" fmla="*/ 2 w 6"/>
                  <a:gd name="T3" fmla="*/ 7 h 15"/>
                  <a:gd name="T4" fmla="*/ 6 w 6"/>
                  <a:gd name="T5" fmla="*/ 0 h 15"/>
                  <a:gd name="T6" fmla="*/ 4 w 6"/>
                  <a:gd name="T7" fmla="*/ 8 h 15"/>
                  <a:gd name="T8" fmla="*/ 1 w 6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5">
                    <a:moveTo>
                      <a:pt x="1" y="15"/>
                    </a:moveTo>
                    <a:cubicBezTo>
                      <a:pt x="0" y="14"/>
                      <a:pt x="1" y="11"/>
                      <a:pt x="2" y="7"/>
                    </a:cubicBezTo>
                    <a:cubicBezTo>
                      <a:pt x="4" y="3"/>
                      <a:pt x="5" y="0"/>
                      <a:pt x="6" y="0"/>
                    </a:cubicBezTo>
                    <a:cubicBezTo>
                      <a:pt x="6" y="0"/>
                      <a:pt x="5" y="4"/>
                      <a:pt x="4" y="8"/>
                    </a:cubicBezTo>
                    <a:cubicBezTo>
                      <a:pt x="3" y="12"/>
                      <a:pt x="1" y="15"/>
                      <a:pt x="1" y="1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6" name="Freeform 118">
                <a:extLst>
                  <a:ext uri="{FF2B5EF4-FFF2-40B4-BE49-F238E27FC236}">
                    <a16:creationId xmlns:a16="http://schemas.microsoft.com/office/drawing/2014/main" id="{6264DCA2-481F-6A27-4371-80B7DCF31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2" y="3056"/>
                <a:ext cx="15" cy="26"/>
              </a:xfrm>
              <a:custGeom>
                <a:avLst/>
                <a:gdLst>
                  <a:gd name="T0" fmla="*/ 8 w 9"/>
                  <a:gd name="T1" fmla="*/ 16 h 16"/>
                  <a:gd name="T2" fmla="*/ 4 w 9"/>
                  <a:gd name="T3" fmla="*/ 9 h 16"/>
                  <a:gd name="T4" fmla="*/ 1 w 9"/>
                  <a:gd name="T5" fmla="*/ 0 h 16"/>
                  <a:gd name="T6" fmla="*/ 5 w 9"/>
                  <a:gd name="T7" fmla="*/ 8 h 16"/>
                  <a:gd name="T8" fmla="*/ 8 w 9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6">
                    <a:moveTo>
                      <a:pt x="8" y="16"/>
                    </a:moveTo>
                    <a:cubicBezTo>
                      <a:pt x="8" y="16"/>
                      <a:pt x="6" y="13"/>
                      <a:pt x="4" y="9"/>
                    </a:cubicBezTo>
                    <a:cubicBezTo>
                      <a:pt x="2" y="4"/>
                      <a:pt x="0" y="1"/>
                      <a:pt x="1" y="0"/>
                    </a:cubicBezTo>
                    <a:cubicBezTo>
                      <a:pt x="1" y="0"/>
                      <a:pt x="3" y="4"/>
                      <a:pt x="5" y="8"/>
                    </a:cubicBezTo>
                    <a:cubicBezTo>
                      <a:pt x="7" y="12"/>
                      <a:pt x="9" y="16"/>
                      <a:pt x="8" y="1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7" name="Freeform 119">
                <a:extLst>
                  <a:ext uri="{FF2B5EF4-FFF2-40B4-BE49-F238E27FC236}">
                    <a16:creationId xmlns:a16="http://schemas.microsoft.com/office/drawing/2014/main" id="{1F76ABE1-B146-4380-2D15-269EA3045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" y="3120"/>
                <a:ext cx="14" cy="18"/>
              </a:xfrm>
              <a:custGeom>
                <a:avLst/>
                <a:gdLst>
                  <a:gd name="T0" fmla="*/ 0 w 9"/>
                  <a:gd name="T1" fmla="*/ 10 h 11"/>
                  <a:gd name="T2" fmla="*/ 4 w 9"/>
                  <a:gd name="T3" fmla="*/ 5 h 11"/>
                  <a:gd name="T4" fmla="*/ 9 w 9"/>
                  <a:gd name="T5" fmla="*/ 0 h 11"/>
                  <a:gd name="T6" fmla="*/ 5 w 9"/>
                  <a:gd name="T7" fmla="*/ 6 h 11"/>
                  <a:gd name="T8" fmla="*/ 0 w 9"/>
                  <a:gd name="T9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0" y="10"/>
                    </a:moveTo>
                    <a:cubicBezTo>
                      <a:pt x="0" y="10"/>
                      <a:pt x="1" y="8"/>
                      <a:pt x="4" y="5"/>
                    </a:cubicBezTo>
                    <a:cubicBezTo>
                      <a:pt x="6" y="2"/>
                      <a:pt x="8" y="0"/>
                      <a:pt x="9" y="0"/>
                    </a:cubicBezTo>
                    <a:cubicBezTo>
                      <a:pt x="9" y="1"/>
                      <a:pt x="8" y="3"/>
                      <a:pt x="5" y="6"/>
                    </a:cubicBezTo>
                    <a:cubicBezTo>
                      <a:pt x="3" y="9"/>
                      <a:pt x="0" y="11"/>
                      <a:pt x="0" y="1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8" name="Freeform 120">
                <a:extLst>
                  <a:ext uri="{FF2B5EF4-FFF2-40B4-BE49-F238E27FC236}">
                    <a16:creationId xmlns:a16="http://schemas.microsoft.com/office/drawing/2014/main" id="{E0D621F6-14DD-6C6C-36F2-68998424C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3033"/>
                <a:ext cx="20" cy="5"/>
              </a:xfrm>
              <a:custGeom>
                <a:avLst/>
                <a:gdLst>
                  <a:gd name="T0" fmla="*/ 12 w 12"/>
                  <a:gd name="T1" fmla="*/ 3 h 3"/>
                  <a:gd name="T2" fmla="*/ 6 w 12"/>
                  <a:gd name="T3" fmla="*/ 3 h 3"/>
                  <a:gd name="T4" fmla="*/ 0 w 12"/>
                  <a:gd name="T5" fmla="*/ 1 h 3"/>
                  <a:gd name="T6" fmla="*/ 6 w 12"/>
                  <a:gd name="T7" fmla="*/ 1 h 3"/>
                  <a:gd name="T8" fmla="*/ 12 w 12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">
                    <a:moveTo>
                      <a:pt x="12" y="3"/>
                    </a:moveTo>
                    <a:cubicBezTo>
                      <a:pt x="12" y="3"/>
                      <a:pt x="9" y="3"/>
                      <a:pt x="6" y="3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3" y="0"/>
                      <a:pt x="6" y="1"/>
                    </a:cubicBezTo>
                    <a:cubicBezTo>
                      <a:pt x="9" y="1"/>
                      <a:pt x="12" y="2"/>
                      <a:pt x="12" y="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9" name="Freeform 121">
                <a:extLst>
                  <a:ext uri="{FF2B5EF4-FFF2-40B4-BE49-F238E27FC236}">
                    <a16:creationId xmlns:a16="http://schemas.microsoft.com/office/drawing/2014/main" id="{3D2148E3-EC16-4E74-94E3-F0D0302A0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3" y="890"/>
                <a:ext cx="48" cy="208"/>
              </a:xfrm>
              <a:custGeom>
                <a:avLst/>
                <a:gdLst>
                  <a:gd name="T0" fmla="*/ 19 w 29"/>
                  <a:gd name="T1" fmla="*/ 126 h 126"/>
                  <a:gd name="T2" fmla="*/ 4 w 29"/>
                  <a:gd name="T3" fmla="*/ 74 h 126"/>
                  <a:gd name="T4" fmla="*/ 6 w 29"/>
                  <a:gd name="T5" fmla="*/ 20 h 126"/>
                  <a:gd name="T6" fmla="*/ 17 w 29"/>
                  <a:gd name="T7" fmla="*/ 0 h 126"/>
                  <a:gd name="T8" fmla="*/ 15 w 29"/>
                  <a:gd name="T9" fmla="*/ 18 h 126"/>
                  <a:gd name="T10" fmla="*/ 28 w 29"/>
                  <a:gd name="T11" fmla="*/ 72 h 126"/>
                  <a:gd name="T12" fmla="*/ 19 w 29"/>
                  <a:gd name="T13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126">
                    <a:moveTo>
                      <a:pt x="19" y="126"/>
                    </a:moveTo>
                    <a:cubicBezTo>
                      <a:pt x="13" y="109"/>
                      <a:pt x="7" y="92"/>
                      <a:pt x="4" y="74"/>
                    </a:cubicBezTo>
                    <a:cubicBezTo>
                      <a:pt x="0" y="56"/>
                      <a:pt x="0" y="37"/>
                      <a:pt x="6" y="20"/>
                    </a:cubicBezTo>
                    <a:cubicBezTo>
                      <a:pt x="6" y="17"/>
                      <a:pt x="14" y="0"/>
                      <a:pt x="17" y="0"/>
                    </a:cubicBezTo>
                    <a:cubicBezTo>
                      <a:pt x="19" y="0"/>
                      <a:pt x="14" y="16"/>
                      <a:pt x="15" y="18"/>
                    </a:cubicBezTo>
                    <a:cubicBezTo>
                      <a:pt x="25" y="34"/>
                      <a:pt x="29" y="53"/>
                      <a:pt x="28" y="72"/>
                    </a:cubicBezTo>
                    <a:cubicBezTo>
                      <a:pt x="27" y="91"/>
                      <a:pt x="24" y="108"/>
                      <a:pt x="19" y="12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0" name="Freeform 122">
                <a:extLst>
                  <a:ext uri="{FF2B5EF4-FFF2-40B4-BE49-F238E27FC236}">
                    <a16:creationId xmlns:a16="http://schemas.microsoft.com/office/drawing/2014/main" id="{ABA89BFB-0560-025D-1D9A-EF1F4D8FE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" y="839"/>
                <a:ext cx="262" cy="512"/>
              </a:xfrm>
              <a:custGeom>
                <a:avLst/>
                <a:gdLst>
                  <a:gd name="T0" fmla="*/ 114 w 159"/>
                  <a:gd name="T1" fmla="*/ 253 h 311"/>
                  <a:gd name="T2" fmla="*/ 114 w 159"/>
                  <a:gd name="T3" fmla="*/ 230 h 311"/>
                  <a:gd name="T4" fmla="*/ 158 w 159"/>
                  <a:gd name="T5" fmla="*/ 180 h 311"/>
                  <a:gd name="T6" fmla="*/ 154 w 159"/>
                  <a:gd name="T7" fmla="*/ 76 h 311"/>
                  <a:gd name="T8" fmla="*/ 73 w 159"/>
                  <a:gd name="T9" fmla="*/ 1 h 311"/>
                  <a:gd name="T10" fmla="*/ 69 w 159"/>
                  <a:gd name="T11" fmla="*/ 0 h 311"/>
                  <a:gd name="T12" fmla="*/ 4 w 159"/>
                  <a:gd name="T13" fmla="*/ 88 h 311"/>
                  <a:gd name="T14" fmla="*/ 10 w 159"/>
                  <a:gd name="T15" fmla="*/ 247 h 311"/>
                  <a:gd name="T16" fmla="*/ 43 w 159"/>
                  <a:gd name="T17" fmla="*/ 283 h 311"/>
                  <a:gd name="T18" fmla="*/ 114 w 159"/>
                  <a:gd name="T19" fmla="*/ 25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9" h="311">
                    <a:moveTo>
                      <a:pt x="114" y="253"/>
                    </a:moveTo>
                    <a:cubicBezTo>
                      <a:pt x="114" y="240"/>
                      <a:pt x="113" y="230"/>
                      <a:pt x="114" y="230"/>
                    </a:cubicBezTo>
                    <a:cubicBezTo>
                      <a:pt x="114" y="230"/>
                      <a:pt x="157" y="224"/>
                      <a:pt x="158" y="180"/>
                    </a:cubicBezTo>
                    <a:cubicBezTo>
                      <a:pt x="159" y="159"/>
                      <a:pt x="156" y="116"/>
                      <a:pt x="154" y="76"/>
                    </a:cubicBezTo>
                    <a:cubicBezTo>
                      <a:pt x="151" y="34"/>
                      <a:pt x="116" y="1"/>
                      <a:pt x="73" y="1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24" y="3"/>
                      <a:pt x="0" y="42"/>
                      <a:pt x="4" y="88"/>
                    </a:cubicBezTo>
                    <a:cubicBezTo>
                      <a:pt x="10" y="247"/>
                      <a:pt x="10" y="247"/>
                      <a:pt x="10" y="247"/>
                    </a:cubicBezTo>
                    <a:cubicBezTo>
                      <a:pt x="43" y="283"/>
                      <a:pt x="43" y="283"/>
                      <a:pt x="43" y="283"/>
                    </a:cubicBezTo>
                    <a:cubicBezTo>
                      <a:pt x="69" y="311"/>
                      <a:pt x="116" y="292"/>
                      <a:pt x="114" y="253"/>
                    </a:cubicBezTo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1" name="Freeform 123">
                <a:extLst>
                  <a:ext uri="{FF2B5EF4-FFF2-40B4-BE49-F238E27FC236}">
                    <a16:creationId xmlns:a16="http://schemas.microsoft.com/office/drawing/2014/main" id="{1E34C841-E154-E89E-3EEF-2E859D1B3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5" y="1190"/>
                <a:ext cx="94" cy="54"/>
              </a:xfrm>
              <a:custGeom>
                <a:avLst/>
                <a:gdLst>
                  <a:gd name="T0" fmla="*/ 57 w 57"/>
                  <a:gd name="T1" fmla="*/ 17 h 33"/>
                  <a:gd name="T2" fmla="*/ 0 w 57"/>
                  <a:gd name="T3" fmla="*/ 0 h 33"/>
                  <a:gd name="T4" fmla="*/ 57 w 57"/>
                  <a:gd name="T5" fmla="*/ 30 h 33"/>
                  <a:gd name="T6" fmla="*/ 57 w 57"/>
                  <a:gd name="T7" fmla="*/ 1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33">
                    <a:moveTo>
                      <a:pt x="57" y="17"/>
                    </a:moveTo>
                    <a:cubicBezTo>
                      <a:pt x="57" y="17"/>
                      <a:pt x="29" y="19"/>
                      <a:pt x="0" y="0"/>
                    </a:cubicBezTo>
                    <a:cubicBezTo>
                      <a:pt x="0" y="0"/>
                      <a:pt x="13" y="33"/>
                      <a:pt x="57" y="30"/>
                    </a:cubicBezTo>
                    <a:lnTo>
                      <a:pt x="57" y="17"/>
                    </a:ln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2" name="Freeform 124">
                <a:extLst>
                  <a:ext uri="{FF2B5EF4-FFF2-40B4-BE49-F238E27FC236}">
                    <a16:creationId xmlns:a16="http://schemas.microsoft.com/office/drawing/2014/main" id="{94D09FB0-8521-5811-183A-1FF832A81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1014"/>
                <a:ext cx="22" cy="20"/>
              </a:xfrm>
              <a:custGeom>
                <a:avLst/>
                <a:gdLst>
                  <a:gd name="T0" fmla="*/ 13 w 13"/>
                  <a:gd name="T1" fmla="*/ 6 h 12"/>
                  <a:gd name="T2" fmla="*/ 7 w 13"/>
                  <a:gd name="T3" fmla="*/ 12 h 12"/>
                  <a:gd name="T4" fmla="*/ 0 w 13"/>
                  <a:gd name="T5" fmla="*/ 7 h 12"/>
                  <a:gd name="T6" fmla="*/ 6 w 13"/>
                  <a:gd name="T7" fmla="*/ 0 h 12"/>
                  <a:gd name="T8" fmla="*/ 13 w 13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13" y="6"/>
                    </a:moveTo>
                    <a:cubicBezTo>
                      <a:pt x="13" y="9"/>
                      <a:pt x="10" y="12"/>
                      <a:pt x="7" y="12"/>
                    </a:cubicBezTo>
                    <a:cubicBezTo>
                      <a:pt x="3" y="12"/>
                      <a:pt x="0" y="10"/>
                      <a:pt x="0" y="7"/>
                    </a:cubicBezTo>
                    <a:cubicBezTo>
                      <a:pt x="0" y="3"/>
                      <a:pt x="3" y="1"/>
                      <a:pt x="6" y="0"/>
                    </a:cubicBezTo>
                    <a:cubicBezTo>
                      <a:pt x="10" y="0"/>
                      <a:pt x="13" y="3"/>
                      <a:pt x="13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3" name="Freeform 125">
                <a:extLst>
                  <a:ext uri="{FF2B5EF4-FFF2-40B4-BE49-F238E27FC236}">
                    <a16:creationId xmlns:a16="http://schemas.microsoft.com/office/drawing/2014/main" id="{B34335ED-A846-1C0E-AB67-3116CB08E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7" y="984"/>
                <a:ext cx="43" cy="12"/>
              </a:xfrm>
              <a:custGeom>
                <a:avLst/>
                <a:gdLst>
                  <a:gd name="T0" fmla="*/ 25 w 26"/>
                  <a:gd name="T1" fmla="*/ 6 h 7"/>
                  <a:gd name="T2" fmla="*/ 13 w 26"/>
                  <a:gd name="T3" fmla="*/ 4 h 7"/>
                  <a:gd name="T4" fmla="*/ 1 w 26"/>
                  <a:gd name="T5" fmla="*/ 6 h 7"/>
                  <a:gd name="T6" fmla="*/ 3 w 26"/>
                  <a:gd name="T7" fmla="*/ 3 h 7"/>
                  <a:gd name="T8" fmla="*/ 13 w 26"/>
                  <a:gd name="T9" fmla="*/ 0 h 7"/>
                  <a:gd name="T10" fmla="*/ 23 w 26"/>
                  <a:gd name="T11" fmla="*/ 3 h 7"/>
                  <a:gd name="T12" fmla="*/ 25 w 26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7">
                    <a:moveTo>
                      <a:pt x="25" y="6"/>
                    </a:moveTo>
                    <a:cubicBezTo>
                      <a:pt x="25" y="7"/>
                      <a:pt x="20" y="4"/>
                      <a:pt x="13" y="4"/>
                    </a:cubicBezTo>
                    <a:cubicBezTo>
                      <a:pt x="7" y="3"/>
                      <a:pt x="2" y="7"/>
                      <a:pt x="1" y="6"/>
                    </a:cubicBezTo>
                    <a:cubicBezTo>
                      <a:pt x="0" y="6"/>
                      <a:pt x="1" y="4"/>
                      <a:pt x="3" y="3"/>
                    </a:cubicBezTo>
                    <a:cubicBezTo>
                      <a:pt x="6" y="1"/>
                      <a:pt x="9" y="0"/>
                      <a:pt x="13" y="0"/>
                    </a:cubicBezTo>
                    <a:cubicBezTo>
                      <a:pt x="18" y="0"/>
                      <a:pt x="21" y="1"/>
                      <a:pt x="23" y="3"/>
                    </a:cubicBezTo>
                    <a:cubicBezTo>
                      <a:pt x="25" y="4"/>
                      <a:pt x="26" y="6"/>
                      <a:pt x="25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4" name="Freeform 126">
                <a:extLst>
                  <a:ext uri="{FF2B5EF4-FFF2-40B4-BE49-F238E27FC236}">
                    <a16:creationId xmlns:a16="http://schemas.microsoft.com/office/drawing/2014/main" id="{A371FE0C-C6B2-7AD9-9CEB-C2687AE30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3" y="1015"/>
                <a:ext cx="20" cy="20"/>
              </a:xfrm>
              <a:custGeom>
                <a:avLst/>
                <a:gdLst>
                  <a:gd name="T0" fmla="*/ 12 w 12"/>
                  <a:gd name="T1" fmla="*/ 6 h 12"/>
                  <a:gd name="T2" fmla="*/ 6 w 12"/>
                  <a:gd name="T3" fmla="*/ 12 h 12"/>
                  <a:gd name="T4" fmla="*/ 0 w 12"/>
                  <a:gd name="T5" fmla="*/ 6 h 12"/>
                  <a:gd name="T6" fmla="*/ 6 w 12"/>
                  <a:gd name="T7" fmla="*/ 0 h 12"/>
                  <a:gd name="T8" fmla="*/ 12 w 12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2" y="6"/>
                    </a:moveTo>
                    <a:cubicBezTo>
                      <a:pt x="12" y="9"/>
                      <a:pt x="9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5" name="Freeform 127">
                <a:extLst>
                  <a:ext uri="{FF2B5EF4-FFF2-40B4-BE49-F238E27FC236}">
                    <a16:creationId xmlns:a16="http://schemas.microsoft.com/office/drawing/2014/main" id="{779EC449-4408-CDB1-22A9-CA5912F4B1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0" y="987"/>
                <a:ext cx="41" cy="12"/>
              </a:xfrm>
              <a:custGeom>
                <a:avLst/>
                <a:gdLst>
                  <a:gd name="T0" fmla="*/ 25 w 25"/>
                  <a:gd name="T1" fmla="*/ 6 h 7"/>
                  <a:gd name="T2" fmla="*/ 12 w 25"/>
                  <a:gd name="T3" fmla="*/ 3 h 7"/>
                  <a:gd name="T4" fmla="*/ 0 w 25"/>
                  <a:gd name="T5" fmla="*/ 6 h 7"/>
                  <a:gd name="T6" fmla="*/ 3 w 25"/>
                  <a:gd name="T7" fmla="*/ 3 h 7"/>
                  <a:gd name="T8" fmla="*/ 13 w 25"/>
                  <a:gd name="T9" fmla="*/ 0 h 7"/>
                  <a:gd name="T10" fmla="*/ 22 w 25"/>
                  <a:gd name="T11" fmla="*/ 3 h 7"/>
                  <a:gd name="T12" fmla="*/ 25 w 25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7">
                    <a:moveTo>
                      <a:pt x="25" y="6"/>
                    </a:moveTo>
                    <a:cubicBezTo>
                      <a:pt x="24" y="7"/>
                      <a:pt x="19" y="4"/>
                      <a:pt x="12" y="3"/>
                    </a:cubicBezTo>
                    <a:cubicBezTo>
                      <a:pt x="6" y="3"/>
                      <a:pt x="1" y="7"/>
                      <a:pt x="0" y="6"/>
                    </a:cubicBezTo>
                    <a:cubicBezTo>
                      <a:pt x="0" y="6"/>
                      <a:pt x="0" y="4"/>
                      <a:pt x="3" y="3"/>
                    </a:cubicBezTo>
                    <a:cubicBezTo>
                      <a:pt x="5" y="1"/>
                      <a:pt x="8" y="0"/>
                      <a:pt x="13" y="0"/>
                    </a:cubicBezTo>
                    <a:cubicBezTo>
                      <a:pt x="17" y="0"/>
                      <a:pt x="20" y="1"/>
                      <a:pt x="22" y="3"/>
                    </a:cubicBezTo>
                    <a:cubicBezTo>
                      <a:pt x="24" y="4"/>
                      <a:pt x="25" y="6"/>
                      <a:pt x="25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6" name="Freeform 128">
                <a:extLst>
                  <a:ext uri="{FF2B5EF4-FFF2-40B4-BE49-F238E27FC236}">
                    <a16:creationId xmlns:a16="http://schemas.microsoft.com/office/drawing/2014/main" id="{67575105-0EA3-FEBA-E7F5-B79DD988EA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991"/>
                <a:ext cx="35" cy="94"/>
              </a:xfrm>
              <a:custGeom>
                <a:avLst/>
                <a:gdLst>
                  <a:gd name="T0" fmla="*/ 3 w 21"/>
                  <a:gd name="T1" fmla="*/ 56 h 57"/>
                  <a:gd name="T2" fmla="*/ 14 w 21"/>
                  <a:gd name="T3" fmla="*/ 54 h 57"/>
                  <a:gd name="T4" fmla="*/ 18 w 21"/>
                  <a:gd name="T5" fmla="*/ 53 h 57"/>
                  <a:gd name="T6" fmla="*/ 17 w 21"/>
                  <a:gd name="T7" fmla="*/ 48 h 57"/>
                  <a:gd name="T8" fmla="*/ 12 w 21"/>
                  <a:gd name="T9" fmla="*/ 34 h 57"/>
                  <a:gd name="T10" fmla="*/ 1 w 21"/>
                  <a:gd name="T11" fmla="*/ 0 h 57"/>
                  <a:gd name="T12" fmla="*/ 14 w 21"/>
                  <a:gd name="T13" fmla="*/ 33 h 57"/>
                  <a:gd name="T14" fmla="*/ 19 w 21"/>
                  <a:gd name="T15" fmla="*/ 47 h 57"/>
                  <a:gd name="T16" fmla="*/ 20 w 21"/>
                  <a:gd name="T17" fmla="*/ 53 h 57"/>
                  <a:gd name="T18" fmla="*/ 17 w 21"/>
                  <a:gd name="T19" fmla="*/ 56 h 57"/>
                  <a:gd name="T20" fmla="*/ 14 w 21"/>
                  <a:gd name="T21" fmla="*/ 56 h 57"/>
                  <a:gd name="T22" fmla="*/ 3 w 21"/>
                  <a:gd name="T23" fmla="*/ 5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57">
                    <a:moveTo>
                      <a:pt x="3" y="56"/>
                    </a:moveTo>
                    <a:cubicBezTo>
                      <a:pt x="3" y="56"/>
                      <a:pt x="7" y="55"/>
                      <a:pt x="14" y="54"/>
                    </a:cubicBezTo>
                    <a:cubicBezTo>
                      <a:pt x="16" y="54"/>
                      <a:pt x="17" y="54"/>
                      <a:pt x="18" y="53"/>
                    </a:cubicBezTo>
                    <a:cubicBezTo>
                      <a:pt x="18" y="51"/>
                      <a:pt x="17" y="50"/>
                      <a:pt x="17" y="48"/>
                    </a:cubicBezTo>
                    <a:cubicBezTo>
                      <a:pt x="15" y="43"/>
                      <a:pt x="13" y="39"/>
                      <a:pt x="12" y="34"/>
                    </a:cubicBezTo>
                    <a:cubicBezTo>
                      <a:pt x="5" y="16"/>
                      <a:pt x="0" y="0"/>
                      <a:pt x="1" y="0"/>
                    </a:cubicBezTo>
                    <a:cubicBezTo>
                      <a:pt x="1" y="0"/>
                      <a:pt x="8" y="15"/>
                      <a:pt x="14" y="33"/>
                    </a:cubicBezTo>
                    <a:cubicBezTo>
                      <a:pt x="16" y="38"/>
                      <a:pt x="18" y="42"/>
                      <a:pt x="19" y="47"/>
                    </a:cubicBezTo>
                    <a:cubicBezTo>
                      <a:pt x="20" y="49"/>
                      <a:pt x="21" y="51"/>
                      <a:pt x="20" y="53"/>
                    </a:cubicBezTo>
                    <a:cubicBezTo>
                      <a:pt x="19" y="55"/>
                      <a:pt x="18" y="56"/>
                      <a:pt x="17" y="56"/>
                    </a:cubicBezTo>
                    <a:cubicBezTo>
                      <a:pt x="16" y="56"/>
                      <a:pt x="15" y="56"/>
                      <a:pt x="14" y="56"/>
                    </a:cubicBezTo>
                    <a:cubicBezTo>
                      <a:pt x="7" y="57"/>
                      <a:pt x="3" y="57"/>
                      <a:pt x="3" y="5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7" name="Freeform 129">
                <a:extLst>
                  <a:ext uri="{FF2B5EF4-FFF2-40B4-BE49-F238E27FC236}">
                    <a16:creationId xmlns:a16="http://schemas.microsoft.com/office/drawing/2014/main" id="{66861CE8-B950-83A5-330E-11B0873F7E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2" y="951"/>
                <a:ext cx="53" cy="17"/>
              </a:xfrm>
              <a:custGeom>
                <a:avLst/>
                <a:gdLst>
                  <a:gd name="T0" fmla="*/ 31 w 32"/>
                  <a:gd name="T1" fmla="*/ 6 h 10"/>
                  <a:gd name="T2" fmla="*/ 16 w 32"/>
                  <a:gd name="T3" fmla="*/ 7 h 10"/>
                  <a:gd name="T4" fmla="*/ 1 w 32"/>
                  <a:gd name="T5" fmla="*/ 9 h 10"/>
                  <a:gd name="T6" fmla="*/ 4 w 32"/>
                  <a:gd name="T7" fmla="*/ 4 h 10"/>
                  <a:gd name="T8" fmla="*/ 16 w 32"/>
                  <a:gd name="T9" fmla="*/ 1 h 10"/>
                  <a:gd name="T10" fmla="*/ 27 w 32"/>
                  <a:gd name="T11" fmla="*/ 2 h 10"/>
                  <a:gd name="T12" fmla="*/ 31 w 32"/>
                  <a:gd name="T1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0">
                    <a:moveTo>
                      <a:pt x="31" y="6"/>
                    </a:moveTo>
                    <a:cubicBezTo>
                      <a:pt x="31" y="7"/>
                      <a:pt x="24" y="6"/>
                      <a:pt x="16" y="7"/>
                    </a:cubicBezTo>
                    <a:cubicBezTo>
                      <a:pt x="8" y="8"/>
                      <a:pt x="2" y="10"/>
                      <a:pt x="1" y="9"/>
                    </a:cubicBezTo>
                    <a:cubicBezTo>
                      <a:pt x="0" y="8"/>
                      <a:pt x="2" y="6"/>
                      <a:pt x="4" y="4"/>
                    </a:cubicBezTo>
                    <a:cubicBezTo>
                      <a:pt x="7" y="3"/>
                      <a:pt x="11" y="1"/>
                      <a:pt x="16" y="1"/>
                    </a:cubicBezTo>
                    <a:cubicBezTo>
                      <a:pt x="20" y="0"/>
                      <a:pt x="25" y="1"/>
                      <a:pt x="27" y="2"/>
                    </a:cubicBezTo>
                    <a:cubicBezTo>
                      <a:pt x="30" y="3"/>
                      <a:pt x="32" y="5"/>
                      <a:pt x="3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8" name="Freeform 130">
                <a:extLst>
                  <a:ext uri="{FF2B5EF4-FFF2-40B4-BE49-F238E27FC236}">
                    <a16:creationId xmlns:a16="http://schemas.microsoft.com/office/drawing/2014/main" id="{141756CE-245F-BC32-5219-DF14599365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7" y="946"/>
                <a:ext cx="38" cy="13"/>
              </a:xfrm>
              <a:custGeom>
                <a:avLst/>
                <a:gdLst>
                  <a:gd name="T0" fmla="*/ 23 w 23"/>
                  <a:gd name="T1" fmla="*/ 7 h 8"/>
                  <a:gd name="T2" fmla="*/ 12 w 23"/>
                  <a:gd name="T3" fmla="*/ 7 h 8"/>
                  <a:gd name="T4" fmla="*/ 0 w 23"/>
                  <a:gd name="T5" fmla="*/ 6 h 8"/>
                  <a:gd name="T6" fmla="*/ 3 w 23"/>
                  <a:gd name="T7" fmla="*/ 2 h 8"/>
                  <a:gd name="T8" fmla="*/ 12 w 23"/>
                  <a:gd name="T9" fmla="*/ 0 h 8"/>
                  <a:gd name="T10" fmla="*/ 21 w 23"/>
                  <a:gd name="T11" fmla="*/ 3 h 8"/>
                  <a:gd name="T12" fmla="*/ 23 w 23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8">
                    <a:moveTo>
                      <a:pt x="23" y="7"/>
                    </a:moveTo>
                    <a:cubicBezTo>
                      <a:pt x="22" y="8"/>
                      <a:pt x="17" y="7"/>
                      <a:pt x="12" y="7"/>
                    </a:cubicBezTo>
                    <a:cubicBezTo>
                      <a:pt x="6" y="7"/>
                      <a:pt x="1" y="8"/>
                      <a:pt x="0" y="6"/>
                    </a:cubicBezTo>
                    <a:cubicBezTo>
                      <a:pt x="0" y="5"/>
                      <a:pt x="0" y="4"/>
                      <a:pt x="3" y="2"/>
                    </a:cubicBezTo>
                    <a:cubicBezTo>
                      <a:pt x="5" y="1"/>
                      <a:pt x="8" y="0"/>
                      <a:pt x="12" y="0"/>
                    </a:cubicBezTo>
                    <a:cubicBezTo>
                      <a:pt x="16" y="0"/>
                      <a:pt x="19" y="1"/>
                      <a:pt x="21" y="3"/>
                    </a:cubicBezTo>
                    <a:cubicBezTo>
                      <a:pt x="23" y="4"/>
                      <a:pt x="23" y="6"/>
                      <a:pt x="23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9" name="Freeform 131">
                <a:extLst>
                  <a:ext uri="{FF2B5EF4-FFF2-40B4-BE49-F238E27FC236}">
                    <a16:creationId xmlns:a16="http://schemas.microsoft.com/office/drawing/2014/main" id="{1A4214FB-0E88-84FF-454F-B47BA9F13E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4" y="1022"/>
                <a:ext cx="51" cy="99"/>
              </a:xfrm>
              <a:custGeom>
                <a:avLst/>
                <a:gdLst>
                  <a:gd name="T0" fmla="*/ 30 w 31"/>
                  <a:gd name="T1" fmla="*/ 9 h 60"/>
                  <a:gd name="T2" fmla="*/ 1 w 31"/>
                  <a:gd name="T3" fmla="*/ 30 h 60"/>
                  <a:gd name="T4" fmla="*/ 31 w 31"/>
                  <a:gd name="T5" fmla="*/ 52 h 60"/>
                  <a:gd name="T6" fmla="*/ 30 w 31"/>
                  <a:gd name="T7" fmla="*/ 9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60">
                    <a:moveTo>
                      <a:pt x="30" y="9"/>
                    </a:moveTo>
                    <a:cubicBezTo>
                      <a:pt x="29" y="9"/>
                      <a:pt x="0" y="0"/>
                      <a:pt x="1" y="30"/>
                    </a:cubicBezTo>
                    <a:cubicBezTo>
                      <a:pt x="1" y="60"/>
                      <a:pt x="31" y="53"/>
                      <a:pt x="31" y="52"/>
                    </a:cubicBezTo>
                    <a:cubicBezTo>
                      <a:pt x="31" y="51"/>
                      <a:pt x="30" y="9"/>
                      <a:pt x="30" y="9"/>
                    </a:cubicBezTo>
                    <a:close/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0" name="Freeform 132">
                <a:extLst>
                  <a:ext uri="{FF2B5EF4-FFF2-40B4-BE49-F238E27FC236}">
                    <a16:creationId xmlns:a16="http://schemas.microsoft.com/office/drawing/2014/main" id="{A429D58D-D413-8AE5-DCD2-37A269506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7" y="1050"/>
                <a:ext cx="23" cy="44"/>
              </a:xfrm>
              <a:custGeom>
                <a:avLst/>
                <a:gdLst>
                  <a:gd name="T0" fmla="*/ 14 w 14"/>
                  <a:gd name="T1" fmla="*/ 24 h 27"/>
                  <a:gd name="T2" fmla="*/ 12 w 14"/>
                  <a:gd name="T3" fmla="*/ 25 h 27"/>
                  <a:gd name="T4" fmla="*/ 9 w 14"/>
                  <a:gd name="T5" fmla="*/ 25 h 27"/>
                  <a:gd name="T6" fmla="*/ 2 w 14"/>
                  <a:gd name="T7" fmla="*/ 13 h 27"/>
                  <a:gd name="T8" fmla="*/ 4 w 14"/>
                  <a:gd name="T9" fmla="*/ 6 h 27"/>
                  <a:gd name="T10" fmla="*/ 7 w 14"/>
                  <a:gd name="T11" fmla="*/ 2 h 27"/>
                  <a:gd name="T12" fmla="*/ 11 w 14"/>
                  <a:gd name="T13" fmla="*/ 3 h 27"/>
                  <a:gd name="T14" fmla="*/ 11 w 14"/>
                  <a:gd name="T15" fmla="*/ 5 h 27"/>
                  <a:gd name="T16" fmla="*/ 11 w 14"/>
                  <a:gd name="T17" fmla="*/ 3 h 27"/>
                  <a:gd name="T18" fmla="*/ 10 w 14"/>
                  <a:gd name="T19" fmla="*/ 1 h 27"/>
                  <a:gd name="T20" fmla="*/ 7 w 14"/>
                  <a:gd name="T21" fmla="*/ 0 h 27"/>
                  <a:gd name="T22" fmla="*/ 2 w 14"/>
                  <a:gd name="T23" fmla="*/ 5 h 27"/>
                  <a:gd name="T24" fmla="*/ 0 w 14"/>
                  <a:gd name="T25" fmla="*/ 14 h 27"/>
                  <a:gd name="T26" fmla="*/ 8 w 14"/>
                  <a:gd name="T27" fmla="*/ 26 h 27"/>
                  <a:gd name="T28" fmla="*/ 13 w 14"/>
                  <a:gd name="T29" fmla="*/ 25 h 27"/>
                  <a:gd name="T30" fmla="*/ 14 w 14"/>
                  <a:gd name="T31" fmla="*/ 2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27">
                    <a:moveTo>
                      <a:pt x="14" y="24"/>
                    </a:moveTo>
                    <a:cubicBezTo>
                      <a:pt x="14" y="24"/>
                      <a:pt x="13" y="24"/>
                      <a:pt x="12" y="25"/>
                    </a:cubicBezTo>
                    <a:cubicBezTo>
                      <a:pt x="12" y="25"/>
                      <a:pt x="10" y="25"/>
                      <a:pt x="9" y="25"/>
                    </a:cubicBezTo>
                    <a:cubicBezTo>
                      <a:pt x="5" y="24"/>
                      <a:pt x="3" y="19"/>
                      <a:pt x="2" y="13"/>
                    </a:cubicBezTo>
                    <a:cubicBezTo>
                      <a:pt x="2" y="11"/>
                      <a:pt x="3" y="8"/>
                      <a:pt x="4" y="6"/>
                    </a:cubicBezTo>
                    <a:cubicBezTo>
                      <a:pt x="5" y="4"/>
                      <a:pt x="6" y="2"/>
                      <a:pt x="7" y="2"/>
                    </a:cubicBezTo>
                    <a:cubicBezTo>
                      <a:pt x="9" y="2"/>
                      <a:pt x="10" y="2"/>
                      <a:pt x="11" y="3"/>
                    </a:cubicBezTo>
                    <a:cubicBezTo>
                      <a:pt x="11" y="4"/>
                      <a:pt x="11" y="5"/>
                      <a:pt x="11" y="5"/>
                    </a:cubicBezTo>
                    <a:cubicBezTo>
                      <a:pt x="11" y="5"/>
                      <a:pt x="12" y="4"/>
                      <a:pt x="11" y="3"/>
                    </a:cubicBezTo>
                    <a:cubicBezTo>
                      <a:pt x="11" y="2"/>
                      <a:pt x="11" y="2"/>
                      <a:pt x="10" y="1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1"/>
                      <a:pt x="3" y="3"/>
                      <a:pt x="2" y="5"/>
                    </a:cubicBezTo>
                    <a:cubicBezTo>
                      <a:pt x="1" y="8"/>
                      <a:pt x="0" y="11"/>
                      <a:pt x="0" y="14"/>
                    </a:cubicBezTo>
                    <a:cubicBezTo>
                      <a:pt x="1" y="20"/>
                      <a:pt x="4" y="25"/>
                      <a:pt x="8" y="26"/>
                    </a:cubicBezTo>
                    <a:cubicBezTo>
                      <a:pt x="10" y="27"/>
                      <a:pt x="12" y="26"/>
                      <a:pt x="13" y="25"/>
                    </a:cubicBezTo>
                    <a:cubicBezTo>
                      <a:pt x="14" y="25"/>
                      <a:pt x="14" y="24"/>
                      <a:pt x="14" y="24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1" name="Freeform 133">
                <a:extLst>
                  <a:ext uri="{FF2B5EF4-FFF2-40B4-BE49-F238E27FC236}">
                    <a16:creationId xmlns:a16="http://schemas.microsoft.com/office/drawing/2014/main" id="{163A18B1-3788-7666-D3E5-1A49DAF89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7" y="826"/>
                <a:ext cx="242" cy="252"/>
              </a:xfrm>
              <a:custGeom>
                <a:avLst/>
                <a:gdLst>
                  <a:gd name="T0" fmla="*/ 142 w 147"/>
                  <a:gd name="T1" fmla="*/ 35 h 153"/>
                  <a:gd name="T2" fmla="*/ 120 w 147"/>
                  <a:gd name="T3" fmla="*/ 12 h 153"/>
                  <a:gd name="T4" fmla="*/ 58 w 147"/>
                  <a:gd name="T5" fmla="*/ 6 h 153"/>
                  <a:gd name="T6" fmla="*/ 12 w 147"/>
                  <a:gd name="T7" fmla="*/ 41 h 153"/>
                  <a:gd name="T8" fmla="*/ 1 w 147"/>
                  <a:gd name="T9" fmla="*/ 101 h 153"/>
                  <a:gd name="T10" fmla="*/ 6 w 147"/>
                  <a:gd name="T11" fmla="*/ 119 h 153"/>
                  <a:gd name="T12" fmla="*/ 18 w 147"/>
                  <a:gd name="T13" fmla="*/ 139 h 153"/>
                  <a:gd name="T14" fmla="*/ 21 w 147"/>
                  <a:gd name="T15" fmla="*/ 148 h 153"/>
                  <a:gd name="T16" fmla="*/ 36 w 147"/>
                  <a:gd name="T17" fmla="*/ 142 h 153"/>
                  <a:gd name="T18" fmla="*/ 43 w 147"/>
                  <a:gd name="T19" fmla="*/ 103 h 153"/>
                  <a:gd name="T20" fmla="*/ 40 w 147"/>
                  <a:gd name="T21" fmla="*/ 75 h 153"/>
                  <a:gd name="T22" fmla="*/ 35 w 147"/>
                  <a:gd name="T23" fmla="*/ 60 h 153"/>
                  <a:gd name="T24" fmla="*/ 37 w 147"/>
                  <a:gd name="T25" fmla="*/ 45 h 153"/>
                  <a:gd name="T26" fmla="*/ 39 w 147"/>
                  <a:gd name="T27" fmla="*/ 42 h 153"/>
                  <a:gd name="T28" fmla="*/ 70 w 147"/>
                  <a:gd name="T29" fmla="*/ 36 h 153"/>
                  <a:gd name="T30" fmla="*/ 123 w 147"/>
                  <a:gd name="T31" fmla="*/ 43 h 153"/>
                  <a:gd name="T32" fmla="*/ 136 w 147"/>
                  <a:gd name="T33" fmla="*/ 29 h 153"/>
                  <a:gd name="T34" fmla="*/ 142 w 147"/>
                  <a:gd name="T35" fmla="*/ 35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7" h="153">
                    <a:moveTo>
                      <a:pt x="142" y="35"/>
                    </a:moveTo>
                    <a:cubicBezTo>
                      <a:pt x="147" y="33"/>
                      <a:pt x="132" y="17"/>
                      <a:pt x="120" y="12"/>
                    </a:cubicBezTo>
                    <a:cubicBezTo>
                      <a:pt x="102" y="5"/>
                      <a:pt x="74" y="0"/>
                      <a:pt x="58" y="6"/>
                    </a:cubicBezTo>
                    <a:cubicBezTo>
                      <a:pt x="38" y="12"/>
                      <a:pt x="22" y="22"/>
                      <a:pt x="12" y="41"/>
                    </a:cubicBezTo>
                    <a:cubicBezTo>
                      <a:pt x="3" y="59"/>
                      <a:pt x="0" y="80"/>
                      <a:pt x="1" y="101"/>
                    </a:cubicBezTo>
                    <a:cubicBezTo>
                      <a:pt x="1" y="107"/>
                      <a:pt x="2" y="114"/>
                      <a:pt x="6" y="119"/>
                    </a:cubicBezTo>
                    <a:cubicBezTo>
                      <a:pt x="10" y="126"/>
                      <a:pt x="18" y="130"/>
                      <a:pt x="18" y="139"/>
                    </a:cubicBezTo>
                    <a:cubicBezTo>
                      <a:pt x="18" y="142"/>
                      <a:pt x="19" y="145"/>
                      <a:pt x="21" y="148"/>
                    </a:cubicBezTo>
                    <a:cubicBezTo>
                      <a:pt x="27" y="153"/>
                      <a:pt x="33" y="148"/>
                      <a:pt x="36" y="142"/>
                    </a:cubicBezTo>
                    <a:cubicBezTo>
                      <a:pt x="43" y="130"/>
                      <a:pt x="43" y="116"/>
                      <a:pt x="43" y="103"/>
                    </a:cubicBezTo>
                    <a:cubicBezTo>
                      <a:pt x="43" y="93"/>
                      <a:pt x="43" y="84"/>
                      <a:pt x="40" y="75"/>
                    </a:cubicBezTo>
                    <a:cubicBezTo>
                      <a:pt x="39" y="70"/>
                      <a:pt x="36" y="65"/>
                      <a:pt x="35" y="60"/>
                    </a:cubicBezTo>
                    <a:cubicBezTo>
                      <a:pt x="34" y="55"/>
                      <a:pt x="34" y="49"/>
                      <a:pt x="37" y="45"/>
                    </a:cubicBezTo>
                    <a:cubicBezTo>
                      <a:pt x="37" y="44"/>
                      <a:pt x="38" y="43"/>
                      <a:pt x="39" y="42"/>
                    </a:cubicBezTo>
                    <a:cubicBezTo>
                      <a:pt x="47" y="35"/>
                      <a:pt x="59" y="32"/>
                      <a:pt x="70" y="36"/>
                    </a:cubicBezTo>
                    <a:cubicBezTo>
                      <a:pt x="87" y="41"/>
                      <a:pt x="116" y="49"/>
                      <a:pt x="123" y="43"/>
                    </a:cubicBezTo>
                    <a:cubicBezTo>
                      <a:pt x="134" y="35"/>
                      <a:pt x="136" y="29"/>
                      <a:pt x="136" y="29"/>
                    </a:cubicBezTo>
                    <a:lnTo>
                      <a:pt x="142" y="3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2" name="Freeform 134">
                <a:extLst>
                  <a:ext uri="{FF2B5EF4-FFF2-40B4-BE49-F238E27FC236}">
                    <a16:creationId xmlns:a16="http://schemas.microsoft.com/office/drawing/2014/main" id="{671F8C87-B58F-B48C-13F1-6B3E3A08AC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6" y="1103"/>
                <a:ext cx="38" cy="19"/>
              </a:xfrm>
              <a:custGeom>
                <a:avLst/>
                <a:gdLst>
                  <a:gd name="T0" fmla="*/ 23 w 23"/>
                  <a:gd name="T1" fmla="*/ 9 h 12"/>
                  <a:gd name="T2" fmla="*/ 20 w 23"/>
                  <a:gd name="T3" fmla="*/ 11 h 12"/>
                  <a:gd name="T4" fmla="*/ 10 w 23"/>
                  <a:gd name="T5" fmla="*/ 11 h 12"/>
                  <a:gd name="T6" fmla="*/ 2 w 23"/>
                  <a:gd name="T7" fmla="*/ 5 h 12"/>
                  <a:gd name="T8" fmla="*/ 0 w 23"/>
                  <a:gd name="T9" fmla="*/ 1 h 12"/>
                  <a:gd name="T10" fmla="*/ 11 w 23"/>
                  <a:gd name="T11" fmla="*/ 7 h 12"/>
                  <a:gd name="T12" fmla="*/ 23 w 23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12">
                    <a:moveTo>
                      <a:pt x="23" y="9"/>
                    </a:moveTo>
                    <a:cubicBezTo>
                      <a:pt x="23" y="9"/>
                      <a:pt x="22" y="11"/>
                      <a:pt x="20" y="11"/>
                    </a:cubicBezTo>
                    <a:cubicBezTo>
                      <a:pt x="17" y="12"/>
                      <a:pt x="13" y="12"/>
                      <a:pt x="10" y="11"/>
                    </a:cubicBezTo>
                    <a:cubicBezTo>
                      <a:pt x="6" y="9"/>
                      <a:pt x="3" y="7"/>
                      <a:pt x="2" y="5"/>
                    </a:cubicBezTo>
                    <a:cubicBezTo>
                      <a:pt x="0" y="3"/>
                      <a:pt x="0" y="1"/>
                      <a:pt x="0" y="1"/>
                    </a:cubicBezTo>
                    <a:cubicBezTo>
                      <a:pt x="1" y="0"/>
                      <a:pt x="5" y="5"/>
                      <a:pt x="11" y="7"/>
                    </a:cubicBezTo>
                    <a:cubicBezTo>
                      <a:pt x="17" y="9"/>
                      <a:pt x="23" y="8"/>
                      <a:pt x="23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3" name="Freeform 135">
                <a:extLst>
                  <a:ext uri="{FF2B5EF4-FFF2-40B4-BE49-F238E27FC236}">
                    <a16:creationId xmlns:a16="http://schemas.microsoft.com/office/drawing/2014/main" id="{97733170-0823-298A-920F-7D8181DB5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2" y="3168"/>
                <a:ext cx="290" cy="273"/>
              </a:xfrm>
              <a:custGeom>
                <a:avLst/>
                <a:gdLst>
                  <a:gd name="T0" fmla="*/ 108 w 176"/>
                  <a:gd name="T1" fmla="*/ 13 h 166"/>
                  <a:gd name="T2" fmla="*/ 91 w 176"/>
                  <a:gd name="T3" fmla="*/ 103 h 166"/>
                  <a:gd name="T4" fmla="*/ 175 w 176"/>
                  <a:gd name="T5" fmla="*/ 166 h 166"/>
                  <a:gd name="T6" fmla="*/ 0 w 176"/>
                  <a:gd name="T7" fmla="*/ 140 h 166"/>
                  <a:gd name="T8" fmla="*/ 20 w 176"/>
                  <a:gd name="T9" fmla="*/ 0 h 166"/>
                  <a:gd name="T10" fmla="*/ 108 w 176"/>
                  <a:gd name="T11" fmla="*/ 13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6" h="166">
                    <a:moveTo>
                      <a:pt x="108" y="13"/>
                    </a:moveTo>
                    <a:cubicBezTo>
                      <a:pt x="91" y="103"/>
                      <a:pt x="91" y="103"/>
                      <a:pt x="91" y="103"/>
                    </a:cubicBezTo>
                    <a:cubicBezTo>
                      <a:pt x="91" y="103"/>
                      <a:pt x="176" y="150"/>
                      <a:pt x="175" y="166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08" y="13"/>
                      <a:pt x="108" y="13"/>
                      <a:pt x="108" y="13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4" name="Freeform 136">
                <a:extLst>
                  <a:ext uri="{FF2B5EF4-FFF2-40B4-BE49-F238E27FC236}">
                    <a16:creationId xmlns:a16="http://schemas.microsoft.com/office/drawing/2014/main" id="{45005E12-C395-4C5B-2B2C-C8576F3C3F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2" y="3179"/>
                <a:ext cx="289" cy="262"/>
              </a:xfrm>
              <a:custGeom>
                <a:avLst/>
                <a:gdLst>
                  <a:gd name="T0" fmla="*/ 69 w 175"/>
                  <a:gd name="T1" fmla="*/ 0 h 159"/>
                  <a:gd name="T2" fmla="*/ 62 w 175"/>
                  <a:gd name="T3" fmla="*/ 83 h 159"/>
                  <a:gd name="T4" fmla="*/ 7 w 175"/>
                  <a:gd name="T5" fmla="*/ 84 h 159"/>
                  <a:gd name="T6" fmla="*/ 0 w 175"/>
                  <a:gd name="T7" fmla="*/ 133 h 159"/>
                  <a:gd name="T8" fmla="*/ 175 w 175"/>
                  <a:gd name="T9" fmla="*/ 159 h 159"/>
                  <a:gd name="T10" fmla="*/ 175 w 175"/>
                  <a:gd name="T11" fmla="*/ 159 h 159"/>
                  <a:gd name="T12" fmla="*/ 91 w 175"/>
                  <a:gd name="T13" fmla="*/ 96 h 159"/>
                  <a:gd name="T14" fmla="*/ 91 w 175"/>
                  <a:gd name="T15" fmla="*/ 96 h 159"/>
                  <a:gd name="T16" fmla="*/ 91 w 175"/>
                  <a:gd name="T17" fmla="*/ 96 h 159"/>
                  <a:gd name="T18" fmla="*/ 108 w 175"/>
                  <a:gd name="T19" fmla="*/ 6 h 159"/>
                  <a:gd name="T20" fmla="*/ 69 w 175"/>
                  <a:gd name="T21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5" h="159">
                    <a:moveTo>
                      <a:pt x="69" y="0"/>
                    </a:moveTo>
                    <a:cubicBezTo>
                      <a:pt x="62" y="83"/>
                      <a:pt x="62" y="83"/>
                      <a:pt x="62" y="83"/>
                    </a:cubicBezTo>
                    <a:cubicBezTo>
                      <a:pt x="7" y="84"/>
                      <a:pt x="7" y="84"/>
                      <a:pt x="7" y="84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175" y="159"/>
                      <a:pt x="175" y="159"/>
                      <a:pt x="175" y="159"/>
                    </a:cubicBezTo>
                    <a:cubicBezTo>
                      <a:pt x="175" y="159"/>
                      <a:pt x="175" y="159"/>
                      <a:pt x="175" y="159"/>
                    </a:cubicBezTo>
                    <a:cubicBezTo>
                      <a:pt x="175" y="142"/>
                      <a:pt x="91" y="96"/>
                      <a:pt x="91" y="96"/>
                    </a:cubicBezTo>
                    <a:cubicBezTo>
                      <a:pt x="91" y="96"/>
                      <a:pt x="91" y="96"/>
                      <a:pt x="91" y="96"/>
                    </a:cubicBezTo>
                    <a:cubicBezTo>
                      <a:pt x="91" y="96"/>
                      <a:pt x="91" y="96"/>
                      <a:pt x="91" y="96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69" y="0"/>
                      <a:pt x="69" y="0"/>
                      <a:pt x="69" y="0"/>
                    </a:cubicBezTo>
                  </a:path>
                </a:pathLst>
              </a:custGeom>
              <a:solidFill>
                <a:srgbClr val="36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5" name="Freeform 137">
                <a:extLst>
                  <a:ext uri="{FF2B5EF4-FFF2-40B4-BE49-F238E27FC236}">
                    <a16:creationId xmlns:a16="http://schemas.microsoft.com/office/drawing/2014/main" id="{64173445-FEB0-2622-668B-AD19ADBBCA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3309"/>
                <a:ext cx="23" cy="25"/>
              </a:xfrm>
              <a:custGeom>
                <a:avLst/>
                <a:gdLst>
                  <a:gd name="T0" fmla="*/ 6 w 14"/>
                  <a:gd name="T1" fmla="*/ 1 h 15"/>
                  <a:gd name="T2" fmla="*/ 0 w 14"/>
                  <a:gd name="T3" fmla="*/ 8 h 15"/>
                  <a:gd name="T4" fmla="*/ 7 w 14"/>
                  <a:gd name="T5" fmla="*/ 14 h 15"/>
                  <a:gd name="T6" fmla="*/ 14 w 14"/>
                  <a:gd name="T7" fmla="*/ 7 h 15"/>
                  <a:gd name="T8" fmla="*/ 5 w 14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6" y="1"/>
                    </a:moveTo>
                    <a:cubicBezTo>
                      <a:pt x="2" y="1"/>
                      <a:pt x="0" y="5"/>
                      <a:pt x="0" y="8"/>
                    </a:cubicBezTo>
                    <a:cubicBezTo>
                      <a:pt x="0" y="12"/>
                      <a:pt x="4" y="15"/>
                      <a:pt x="7" y="14"/>
                    </a:cubicBezTo>
                    <a:cubicBezTo>
                      <a:pt x="11" y="14"/>
                      <a:pt x="14" y="10"/>
                      <a:pt x="14" y="7"/>
                    </a:cubicBezTo>
                    <a:cubicBezTo>
                      <a:pt x="13" y="3"/>
                      <a:pt x="9" y="0"/>
                      <a:pt x="5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6" name="Freeform 138">
                <a:extLst>
                  <a:ext uri="{FF2B5EF4-FFF2-40B4-BE49-F238E27FC236}">
                    <a16:creationId xmlns:a16="http://schemas.microsoft.com/office/drawing/2014/main" id="{1A3962D2-CF31-E21B-3F53-5BD0C7F15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2" y="3375"/>
                <a:ext cx="290" cy="66"/>
              </a:xfrm>
              <a:custGeom>
                <a:avLst/>
                <a:gdLst>
                  <a:gd name="T0" fmla="*/ 0 w 176"/>
                  <a:gd name="T1" fmla="*/ 14 h 40"/>
                  <a:gd name="T2" fmla="*/ 3 w 176"/>
                  <a:gd name="T3" fmla="*/ 0 h 40"/>
                  <a:gd name="T4" fmla="*/ 169 w 176"/>
                  <a:gd name="T5" fmla="*/ 31 h 40"/>
                  <a:gd name="T6" fmla="*/ 175 w 176"/>
                  <a:gd name="T7" fmla="*/ 40 h 40"/>
                  <a:gd name="T8" fmla="*/ 0 w 176"/>
                  <a:gd name="T9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40">
                    <a:moveTo>
                      <a:pt x="0" y="14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69" y="31"/>
                      <a:pt x="169" y="31"/>
                      <a:pt x="169" y="31"/>
                    </a:cubicBezTo>
                    <a:cubicBezTo>
                      <a:pt x="169" y="31"/>
                      <a:pt x="176" y="35"/>
                      <a:pt x="175" y="40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7" name="Freeform 139">
                <a:extLst>
                  <a:ext uri="{FF2B5EF4-FFF2-40B4-BE49-F238E27FC236}">
                    <a16:creationId xmlns:a16="http://schemas.microsoft.com/office/drawing/2014/main" id="{28FB6965-B5FF-AA43-FF29-12B2CD682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" y="3332"/>
                <a:ext cx="29" cy="17"/>
              </a:xfrm>
              <a:custGeom>
                <a:avLst/>
                <a:gdLst>
                  <a:gd name="T0" fmla="*/ 18 w 18"/>
                  <a:gd name="T1" fmla="*/ 2 h 10"/>
                  <a:gd name="T2" fmla="*/ 9 w 18"/>
                  <a:gd name="T3" fmla="*/ 5 h 10"/>
                  <a:gd name="T4" fmla="*/ 1 w 18"/>
                  <a:gd name="T5" fmla="*/ 10 h 10"/>
                  <a:gd name="T6" fmla="*/ 7 w 18"/>
                  <a:gd name="T7" fmla="*/ 2 h 10"/>
                  <a:gd name="T8" fmla="*/ 18 w 18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0">
                    <a:moveTo>
                      <a:pt x="18" y="2"/>
                    </a:moveTo>
                    <a:cubicBezTo>
                      <a:pt x="18" y="3"/>
                      <a:pt x="13" y="3"/>
                      <a:pt x="9" y="5"/>
                    </a:cubicBezTo>
                    <a:cubicBezTo>
                      <a:pt x="4" y="7"/>
                      <a:pt x="1" y="10"/>
                      <a:pt x="1" y="10"/>
                    </a:cubicBezTo>
                    <a:cubicBezTo>
                      <a:pt x="0" y="9"/>
                      <a:pt x="2" y="5"/>
                      <a:pt x="7" y="2"/>
                    </a:cubicBezTo>
                    <a:cubicBezTo>
                      <a:pt x="13" y="0"/>
                      <a:pt x="18" y="1"/>
                      <a:pt x="18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8" name="Freeform 140">
                <a:extLst>
                  <a:ext uri="{FF2B5EF4-FFF2-40B4-BE49-F238E27FC236}">
                    <a16:creationId xmlns:a16="http://schemas.microsoft.com/office/drawing/2014/main" id="{5F4EC0BB-B420-5E71-C901-778B13D51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2" y="3350"/>
                <a:ext cx="23" cy="22"/>
              </a:xfrm>
              <a:custGeom>
                <a:avLst/>
                <a:gdLst>
                  <a:gd name="T0" fmla="*/ 14 w 14"/>
                  <a:gd name="T1" fmla="*/ 1 h 13"/>
                  <a:gd name="T2" fmla="*/ 7 w 14"/>
                  <a:gd name="T3" fmla="*/ 6 h 13"/>
                  <a:gd name="T4" fmla="*/ 1 w 14"/>
                  <a:gd name="T5" fmla="*/ 13 h 13"/>
                  <a:gd name="T6" fmla="*/ 5 w 14"/>
                  <a:gd name="T7" fmla="*/ 4 h 13"/>
                  <a:gd name="T8" fmla="*/ 14 w 14"/>
                  <a:gd name="T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3">
                    <a:moveTo>
                      <a:pt x="14" y="1"/>
                    </a:moveTo>
                    <a:cubicBezTo>
                      <a:pt x="14" y="2"/>
                      <a:pt x="10" y="3"/>
                      <a:pt x="7" y="6"/>
                    </a:cubicBezTo>
                    <a:cubicBezTo>
                      <a:pt x="3" y="9"/>
                      <a:pt x="2" y="13"/>
                      <a:pt x="1" y="13"/>
                    </a:cubicBezTo>
                    <a:cubicBezTo>
                      <a:pt x="0" y="13"/>
                      <a:pt x="0" y="8"/>
                      <a:pt x="5" y="4"/>
                    </a:cubicBezTo>
                    <a:cubicBezTo>
                      <a:pt x="9" y="0"/>
                      <a:pt x="14" y="1"/>
                      <a:pt x="1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9" name="Freeform 141">
                <a:extLst>
                  <a:ext uri="{FF2B5EF4-FFF2-40B4-BE49-F238E27FC236}">
                    <a16:creationId xmlns:a16="http://schemas.microsoft.com/office/drawing/2014/main" id="{C347C4F7-099C-C756-FC03-1CF5FD62F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5" y="3369"/>
                <a:ext cx="16" cy="23"/>
              </a:xfrm>
              <a:custGeom>
                <a:avLst/>
                <a:gdLst>
                  <a:gd name="T0" fmla="*/ 1 w 10"/>
                  <a:gd name="T1" fmla="*/ 14 h 14"/>
                  <a:gd name="T2" fmla="*/ 3 w 10"/>
                  <a:gd name="T3" fmla="*/ 5 h 14"/>
                  <a:gd name="T4" fmla="*/ 10 w 10"/>
                  <a:gd name="T5" fmla="*/ 0 h 14"/>
                  <a:gd name="T6" fmla="*/ 5 w 10"/>
                  <a:gd name="T7" fmla="*/ 7 h 14"/>
                  <a:gd name="T8" fmla="*/ 1 w 10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4">
                    <a:moveTo>
                      <a:pt x="1" y="14"/>
                    </a:moveTo>
                    <a:cubicBezTo>
                      <a:pt x="0" y="14"/>
                      <a:pt x="0" y="10"/>
                      <a:pt x="3" y="5"/>
                    </a:cubicBezTo>
                    <a:cubicBezTo>
                      <a:pt x="5" y="1"/>
                      <a:pt x="10" y="0"/>
                      <a:pt x="10" y="0"/>
                    </a:cubicBezTo>
                    <a:cubicBezTo>
                      <a:pt x="10" y="1"/>
                      <a:pt x="7" y="3"/>
                      <a:pt x="5" y="7"/>
                    </a:cubicBezTo>
                    <a:cubicBezTo>
                      <a:pt x="3" y="10"/>
                      <a:pt x="2" y="14"/>
                      <a:pt x="1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0" name="Freeform 142">
                <a:extLst>
                  <a:ext uri="{FF2B5EF4-FFF2-40B4-BE49-F238E27FC236}">
                    <a16:creationId xmlns:a16="http://schemas.microsoft.com/office/drawing/2014/main" id="{7DEE4272-F264-D182-AFD7-60DA49CAB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9" y="3293"/>
                <a:ext cx="31" cy="10"/>
              </a:xfrm>
              <a:custGeom>
                <a:avLst/>
                <a:gdLst>
                  <a:gd name="T0" fmla="*/ 18 w 19"/>
                  <a:gd name="T1" fmla="*/ 5 h 6"/>
                  <a:gd name="T2" fmla="*/ 9 w 19"/>
                  <a:gd name="T3" fmla="*/ 4 h 6"/>
                  <a:gd name="T4" fmla="*/ 0 w 19"/>
                  <a:gd name="T5" fmla="*/ 4 h 6"/>
                  <a:gd name="T6" fmla="*/ 9 w 19"/>
                  <a:gd name="T7" fmla="*/ 1 h 6"/>
                  <a:gd name="T8" fmla="*/ 18 w 19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8" y="5"/>
                    </a:moveTo>
                    <a:cubicBezTo>
                      <a:pt x="18" y="6"/>
                      <a:pt x="14" y="4"/>
                      <a:pt x="9" y="4"/>
                    </a:cubicBezTo>
                    <a:cubicBezTo>
                      <a:pt x="4" y="3"/>
                      <a:pt x="0" y="4"/>
                      <a:pt x="0" y="4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5" y="1"/>
                      <a:pt x="19" y="5"/>
                      <a:pt x="18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1" name="Freeform 143">
                <a:extLst>
                  <a:ext uri="{FF2B5EF4-FFF2-40B4-BE49-F238E27FC236}">
                    <a16:creationId xmlns:a16="http://schemas.microsoft.com/office/drawing/2014/main" id="{C9E15C47-C61B-47C6-5243-ED279D39A9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0" y="3225"/>
                <a:ext cx="296" cy="236"/>
              </a:xfrm>
              <a:custGeom>
                <a:avLst/>
                <a:gdLst>
                  <a:gd name="T0" fmla="*/ 88 w 180"/>
                  <a:gd name="T1" fmla="*/ 0 h 143"/>
                  <a:gd name="T2" fmla="*/ 87 w 180"/>
                  <a:gd name="T3" fmla="*/ 91 h 143"/>
                  <a:gd name="T4" fmla="*/ 180 w 180"/>
                  <a:gd name="T5" fmla="*/ 140 h 143"/>
                  <a:gd name="T6" fmla="*/ 4 w 180"/>
                  <a:gd name="T7" fmla="*/ 143 h 143"/>
                  <a:gd name="T8" fmla="*/ 0 w 180"/>
                  <a:gd name="T9" fmla="*/ 1 h 143"/>
                  <a:gd name="T10" fmla="*/ 88 w 180"/>
                  <a:gd name="T11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0" h="143">
                    <a:moveTo>
                      <a:pt x="88" y="0"/>
                    </a:moveTo>
                    <a:cubicBezTo>
                      <a:pt x="87" y="91"/>
                      <a:pt x="87" y="91"/>
                      <a:pt x="87" y="91"/>
                    </a:cubicBezTo>
                    <a:cubicBezTo>
                      <a:pt x="87" y="91"/>
                      <a:pt x="179" y="123"/>
                      <a:pt x="180" y="140"/>
                    </a:cubicBezTo>
                    <a:cubicBezTo>
                      <a:pt x="4" y="143"/>
                      <a:pt x="4" y="143"/>
                      <a:pt x="4" y="143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36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2" name="Freeform 144">
                <a:extLst>
                  <a:ext uri="{FF2B5EF4-FFF2-40B4-BE49-F238E27FC236}">
                    <a16:creationId xmlns:a16="http://schemas.microsoft.com/office/drawing/2014/main" id="{0B684CA9-8CCD-CD9F-C8C3-5DB5EFE8A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3360"/>
                <a:ext cx="26" cy="27"/>
              </a:xfrm>
              <a:custGeom>
                <a:avLst/>
                <a:gdLst>
                  <a:gd name="T0" fmla="*/ 6 w 16"/>
                  <a:gd name="T1" fmla="*/ 2 h 16"/>
                  <a:gd name="T2" fmla="*/ 1 w 16"/>
                  <a:gd name="T3" fmla="*/ 10 h 16"/>
                  <a:gd name="T4" fmla="*/ 10 w 16"/>
                  <a:gd name="T5" fmla="*/ 15 h 16"/>
                  <a:gd name="T6" fmla="*/ 15 w 16"/>
                  <a:gd name="T7" fmla="*/ 6 h 16"/>
                  <a:gd name="T8" fmla="*/ 6 w 16"/>
                  <a:gd name="T9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6" y="2"/>
                    </a:moveTo>
                    <a:cubicBezTo>
                      <a:pt x="3" y="3"/>
                      <a:pt x="0" y="7"/>
                      <a:pt x="1" y="10"/>
                    </a:cubicBezTo>
                    <a:cubicBezTo>
                      <a:pt x="2" y="14"/>
                      <a:pt x="6" y="16"/>
                      <a:pt x="10" y="15"/>
                    </a:cubicBezTo>
                    <a:cubicBezTo>
                      <a:pt x="13" y="14"/>
                      <a:pt x="16" y="10"/>
                      <a:pt x="15" y="6"/>
                    </a:cubicBezTo>
                    <a:cubicBezTo>
                      <a:pt x="13" y="3"/>
                      <a:pt x="9" y="0"/>
                      <a:pt x="6" y="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3" name="Freeform 145">
                <a:extLst>
                  <a:ext uri="{FF2B5EF4-FFF2-40B4-BE49-F238E27FC236}">
                    <a16:creationId xmlns:a16="http://schemas.microsoft.com/office/drawing/2014/main" id="{F870B9D6-B6CB-68E1-53A5-44E6CCA6F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" y="3436"/>
                <a:ext cx="292" cy="25"/>
              </a:xfrm>
              <a:custGeom>
                <a:avLst/>
                <a:gdLst>
                  <a:gd name="T0" fmla="*/ 0 w 177"/>
                  <a:gd name="T1" fmla="*/ 15 h 15"/>
                  <a:gd name="T2" fmla="*/ 0 w 177"/>
                  <a:gd name="T3" fmla="*/ 0 h 15"/>
                  <a:gd name="T4" fmla="*/ 169 w 177"/>
                  <a:gd name="T5" fmla="*/ 3 h 15"/>
                  <a:gd name="T6" fmla="*/ 176 w 177"/>
                  <a:gd name="T7" fmla="*/ 12 h 15"/>
                  <a:gd name="T8" fmla="*/ 0 w 177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7" h="15">
                    <a:moveTo>
                      <a:pt x="0" y="1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69" y="3"/>
                      <a:pt x="169" y="3"/>
                      <a:pt x="169" y="3"/>
                    </a:cubicBezTo>
                    <a:cubicBezTo>
                      <a:pt x="169" y="3"/>
                      <a:pt x="177" y="6"/>
                      <a:pt x="176" y="12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4" name="Freeform 146">
                <a:extLst>
                  <a:ext uri="{FF2B5EF4-FFF2-40B4-BE49-F238E27FC236}">
                    <a16:creationId xmlns:a16="http://schemas.microsoft.com/office/drawing/2014/main" id="{D94F4D1B-60CD-1F16-AB31-F9F7077EB4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0" y="3370"/>
                <a:ext cx="28" cy="20"/>
              </a:xfrm>
              <a:custGeom>
                <a:avLst/>
                <a:gdLst>
                  <a:gd name="T0" fmla="*/ 17 w 17"/>
                  <a:gd name="T1" fmla="*/ 2 h 12"/>
                  <a:gd name="T2" fmla="*/ 8 w 17"/>
                  <a:gd name="T3" fmla="*/ 6 h 12"/>
                  <a:gd name="T4" fmla="*/ 1 w 17"/>
                  <a:gd name="T5" fmla="*/ 12 h 12"/>
                  <a:gd name="T6" fmla="*/ 7 w 17"/>
                  <a:gd name="T7" fmla="*/ 3 h 12"/>
                  <a:gd name="T8" fmla="*/ 17 w 17"/>
                  <a:gd name="T9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2">
                    <a:moveTo>
                      <a:pt x="17" y="2"/>
                    </a:moveTo>
                    <a:cubicBezTo>
                      <a:pt x="17" y="2"/>
                      <a:pt x="12" y="3"/>
                      <a:pt x="8" y="6"/>
                    </a:cubicBezTo>
                    <a:cubicBezTo>
                      <a:pt x="4" y="8"/>
                      <a:pt x="2" y="12"/>
                      <a:pt x="1" y="12"/>
                    </a:cubicBezTo>
                    <a:cubicBezTo>
                      <a:pt x="0" y="12"/>
                      <a:pt x="1" y="7"/>
                      <a:pt x="7" y="3"/>
                    </a:cubicBezTo>
                    <a:cubicBezTo>
                      <a:pt x="12" y="0"/>
                      <a:pt x="17" y="1"/>
                      <a:pt x="17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5" name="Freeform 147">
                <a:extLst>
                  <a:ext uri="{FF2B5EF4-FFF2-40B4-BE49-F238E27FC236}">
                    <a16:creationId xmlns:a16="http://schemas.microsoft.com/office/drawing/2014/main" id="{E68FE314-36B2-B22A-97B5-974B6A98A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8" y="3383"/>
                <a:ext cx="21" cy="25"/>
              </a:xfrm>
              <a:custGeom>
                <a:avLst/>
                <a:gdLst>
                  <a:gd name="T0" fmla="*/ 12 w 13"/>
                  <a:gd name="T1" fmla="*/ 1 h 15"/>
                  <a:gd name="T2" fmla="*/ 6 w 13"/>
                  <a:gd name="T3" fmla="*/ 7 h 15"/>
                  <a:gd name="T4" fmla="*/ 2 w 13"/>
                  <a:gd name="T5" fmla="*/ 14 h 15"/>
                  <a:gd name="T6" fmla="*/ 4 w 13"/>
                  <a:gd name="T7" fmla="*/ 5 h 15"/>
                  <a:gd name="T8" fmla="*/ 12 w 13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5">
                    <a:moveTo>
                      <a:pt x="12" y="1"/>
                    </a:moveTo>
                    <a:cubicBezTo>
                      <a:pt x="13" y="2"/>
                      <a:pt x="9" y="3"/>
                      <a:pt x="6" y="7"/>
                    </a:cubicBezTo>
                    <a:cubicBezTo>
                      <a:pt x="3" y="11"/>
                      <a:pt x="2" y="15"/>
                      <a:pt x="2" y="14"/>
                    </a:cubicBezTo>
                    <a:cubicBezTo>
                      <a:pt x="1" y="15"/>
                      <a:pt x="0" y="10"/>
                      <a:pt x="4" y="5"/>
                    </a:cubicBezTo>
                    <a:cubicBezTo>
                      <a:pt x="7" y="1"/>
                      <a:pt x="12" y="0"/>
                      <a:pt x="12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6" name="Freeform 148">
                <a:extLst>
                  <a:ext uri="{FF2B5EF4-FFF2-40B4-BE49-F238E27FC236}">
                    <a16:creationId xmlns:a16="http://schemas.microsoft.com/office/drawing/2014/main" id="{640772EB-EB1B-B492-E73B-EEA9CF88B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" y="3395"/>
                <a:ext cx="15" cy="26"/>
              </a:xfrm>
              <a:custGeom>
                <a:avLst/>
                <a:gdLst>
                  <a:gd name="T0" fmla="*/ 2 w 9"/>
                  <a:gd name="T1" fmla="*/ 16 h 16"/>
                  <a:gd name="T2" fmla="*/ 2 w 9"/>
                  <a:gd name="T3" fmla="*/ 7 h 16"/>
                  <a:gd name="T4" fmla="*/ 9 w 9"/>
                  <a:gd name="T5" fmla="*/ 1 h 16"/>
                  <a:gd name="T6" fmla="*/ 5 w 9"/>
                  <a:gd name="T7" fmla="*/ 8 h 16"/>
                  <a:gd name="T8" fmla="*/ 2 w 9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6">
                    <a:moveTo>
                      <a:pt x="2" y="16"/>
                    </a:moveTo>
                    <a:cubicBezTo>
                      <a:pt x="2" y="16"/>
                      <a:pt x="0" y="12"/>
                      <a:pt x="2" y="7"/>
                    </a:cubicBezTo>
                    <a:cubicBezTo>
                      <a:pt x="4" y="2"/>
                      <a:pt x="8" y="0"/>
                      <a:pt x="9" y="1"/>
                    </a:cubicBezTo>
                    <a:cubicBezTo>
                      <a:pt x="9" y="2"/>
                      <a:pt x="7" y="4"/>
                      <a:pt x="5" y="8"/>
                    </a:cubicBezTo>
                    <a:cubicBezTo>
                      <a:pt x="3" y="12"/>
                      <a:pt x="3" y="16"/>
                      <a:pt x="2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7" name="Freeform 149">
                <a:extLst>
                  <a:ext uri="{FF2B5EF4-FFF2-40B4-BE49-F238E27FC236}">
                    <a16:creationId xmlns:a16="http://schemas.microsoft.com/office/drawing/2014/main" id="{3263B20C-B067-6C30-B1AC-E56632444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3" y="3332"/>
                <a:ext cx="32" cy="10"/>
              </a:xfrm>
              <a:custGeom>
                <a:avLst/>
                <a:gdLst>
                  <a:gd name="T0" fmla="*/ 19 w 19"/>
                  <a:gd name="T1" fmla="*/ 4 h 6"/>
                  <a:gd name="T2" fmla="*/ 10 w 19"/>
                  <a:gd name="T3" fmla="*/ 4 h 6"/>
                  <a:gd name="T4" fmla="*/ 1 w 19"/>
                  <a:gd name="T5" fmla="*/ 5 h 6"/>
                  <a:gd name="T6" fmla="*/ 9 w 19"/>
                  <a:gd name="T7" fmla="*/ 1 h 6"/>
                  <a:gd name="T8" fmla="*/ 19 w 19"/>
                  <a:gd name="T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9" y="4"/>
                    </a:moveTo>
                    <a:cubicBezTo>
                      <a:pt x="18" y="5"/>
                      <a:pt x="14" y="3"/>
                      <a:pt x="10" y="4"/>
                    </a:cubicBezTo>
                    <a:cubicBezTo>
                      <a:pt x="5" y="4"/>
                      <a:pt x="1" y="6"/>
                      <a:pt x="1" y="5"/>
                    </a:cubicBezTo>
                    <a:cubicBezTo>
                      <a:pt x="0" y="5"/>
                      <a:pt x="4" y="1"/>
                      <a:pt x="9" y="1"/>
                    </a:cubicBezTo>
                    <a:cubicBezTo>
                      <a:pt x="15" y="0"/>
                      <a:pt x="19" y="3"/>
                      <a:pt x="1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8" name="Freeform 150">
                <a:extLst>
                  <a:ext uri="{FF2B5EF4-FFF2-40B4-BE49-F238E27FC236}">
                    <a16:creationId xmlns:a16="http://schemas.microsoft.com/office/drawing/2014/main" id="{25268071-BF48-4ADC-7C39-24362AC76F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1" y="2061"/>
                <a:ext cx="367" cy="1260"/>
              </a:xfrm>
              <a:custGeom>
                <a:avLst/>
                <a:gdLst>
                  <a:gd name="T0" fmla="*/ 0 w 223"/>
                  <a:gd name="T1" fmla="*/ 0 h 765"/>
                  <a:gd name="T2" fmla="*/ 2 w 223"/>
                  <a:gd name="T3" fmla="*/ 90 h 765"/>
                  <a:gd name="T4" fmla="*/ 29 w 223"/>
                  <a:gd name="T5" fmla="*/ 370 h 765"/>
                  <a:gd name="T6" fmla="*/ 15 w 223"/>
                  <a:gd name="T7" fmla="*/ 583 h 765"/>
                  <a:gd name="T8" fmla="*/ 24 w 223"/>
                  <a:gd name="T9" fmla="*/ 765 h 765"/>
                  <a:gd name="T10" fmla="*/ 136 w 223"/>
                  <a:gd name="T11" fmla="*/ 762 h 765"/>
                  <a:gd name="T12" fmla="*/ 166 w 223"/>
                  <a:gd name="T13" fmla="*/ 374 h 765"/>
                  <a:gd name="T14" fmla="*/ 185 w 223"/>
                  <a:gd name="T15" fmla="*/ 133 h 765"/>
                  <a:gd name="T16" fmla="*/ 223 w 223"/>
                  <a:gd name="T17" fmla="*/ 6 h 765"/>
                  <a:gd name="T18" fmla="*/ 0 w 223"/>
                  <a:gd name="T19" fmla="*/ 0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3" h="765">
                    <a:moveTo>
                      <a:pt x="0" y="0"/>
                    </a:moveTo>
                    <a:cubicBezTo>
                      <a:pt x="2" y="90"/>
                      <a:pt x="2" y="90"/>
                      <a:pt x="2" y="90"/>
                    </a:cubicBezTo>
                    <a:cubicBezTo>
                      <a:pt x="29" y="370"/>
                      <a:pt x="29" y="370"/>
                      <a:pt x="29" y="370"/>
                    </a:cubicBezTo>
                    <a:cubicBezTo>
                      <a:pt x="29" y="370"/>
                      <a:pt x="20" y="506"/>
                      <a:pt x="15" y="583"/>
                    </a:cubicBezTo>
                    <a:cubicBezTo>
                      <a:pt x="10" y="649"/>
                      <a:pt x="24" y="765"/>
                      <a:pt x="24" y="765"/>
                    </a:cubicBezTo>
                    <a:cubicBezTo>
                      <a:pt x="136" y="762"/>
                      <a:pt x="136" y="762"/>
                      <a:pt x="136" y="762"/>
                    </a:cubicBezTo>
                    <a:cubicBezTo>
                      <a:pt x="166" y="374"/>
                      <a:pt x="166" y="374"/>
                      <a:pt x="166" y="374"/>
                    </a:cubicBezTo>
                    <a:cubicBezTo>
                      <a:pt x="185" y="133"/>
                      <a:pt x="185" y="133"/>
                      <a:pt x="185" y="133"/>
                    </a:cubicBezTo>
                    <a:cubicBezTo>
                      <a:pt x="223" y="6"/>
                      <a:pt x="223" y="6"/>
                      <a:pt x="223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9" name="Freeform 151">
                <a:extLst>
                  <a:ext uri="{FF2B5EF4-FFF2-40B4-BE49-F238E27FC236}">
                    <a16:creationId xmlns:a16="http://schemas.microsoft.com/office/drawing/2014/main" id="{66AC89E0-A2B0-B42A-897C-E6E9EAED96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" y="2061"/>
                <a:ext cx="293" cy="1197"/>
              </a:xfrm>
              <a:custGeom>
                <a:avLst/>
                <a:gdLst>
                  <a:gd name="T0" fmla="*/ 171 w 178"/>
                  <a:gd name="T1" fmla="*/ 21 h 727"/>
                  <a:gd name="T2" fmla="*/ 178 w 178"/>
                  <a:gd name="T3" fmla="*/ 386 h 727"/>
                  <a:gd name="T4" fmla="*/ 169 w 178"/>
                  <a:gd name="T5" fmla="*/ 441 h 727"/>
                  <a:gd name="T6" fmla="*/ 72 w 178"/>
                  <a:gd name="T7" fmla="*/ 710 h 727"/>
                  <a:gd name="T8" fmla="*/ 67 w 178"/>
                  <a:gd name="T9" fmla="*/ 727 h 727"/>
                  <a:gd name="T10" fmla="*/ 0 w 178"/>
                  <a:gd name="T11" fmla="*/ 713 h 727"/>
                  <a:gd name="T12" fmla="*/ 33 w 178"/>
                  <a:gd name="T13" fmla="*/ 0 h 727"/>
                  <a:gd name="T14" fmla="*/ 171 w 178"/>
                  <a:gd name="T15" fmla="*/ 21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8" h="727">
                    <a:moveTo>
                      <a:pt x="171" y="21"/>
                    </a:moveTo>
                    <a:cubicBezTo>
                      <a:pt x="178" y="386"/>
                      <a:pt x="178" y="386"/>
                      <a:pt x="178" y="386"/>
                    </a:cubicBezTo>
                    <a:cubicBezTo>
                      <a:pt x="178" y="405"/>
                      <a:pt x="175" y="423"/>
                      <a:pt x="169" y="441"/>
                    </a:cubicBezTo>
                    <a:cubicBezTo>
                      <a:pt x="72" y="710"/>
                      <a:pt x="72" y="710"/>
                      <a:pt x="72" y="710"/>
                    </a:cubicBezTo>
                    <a:cubicBezTo>
                      <a:pt x="67" y="727"/>
                      <a:pt x="67" y="727"/>
                      <a:pt x="67" y="727"/>
                    </a:cubicBezTo>
                    <a:cubicBezTo>
                      <a:pt x="0" y="713"/>
                      <a:pt x="0" y="713"/>
                      <a:pt x="0" y="713"/>
                    </a:cubicBezTo>
                    <a:cubicBezTo>
                      <a:pt x="33" y="0"/>
                      <a:pt x="33" y="0"/>
                      <a:pt x="33" y="0"/>
                    </a:cubicBezTo>
                    <a:lnTo>
                      <a:pt x="171" y="2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0" name="Freeform 152">
                <a:extLst>
                  <a:ext uri="{FF2B5EF4-FFF2-40B4-BE49-F238E27FC236}">
                    <a16:creationId xmlns:a16="http://schemas.microsoft.com/office/drawing/2014/main" id="{E319A48F-7E29-D95F-8E40-8CE54E581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201"/>
                <a:ext cx="80" cy="1115"/>
              </a:xfrm>
              <a:custGeom>
                <a:avLst/>
                <a:gdLst>
                  <a:gd name="T0" fmla="*/ 47 w 48"/>
                  <a:gd name="T1" fmla="*/ 0 h 677"/>
                  <a:gd name="T2" fmla="*/ 48 w 48"/>
                  <a:gd name="T3" fmla="*/ 2 h 677"/>
                  <a:gd name="T4" fmla="*/ 48 w 48"/>
                  <a:gd name="T5" fmla="*/ 7 h 677"/>
                  <a:gd name="T6" fmla="*/ 48 w 48"/>
                  <a:gd name="T7" fmla="*/ 27 h 677"/>
                  <a:gd name="T8" fmla="*/ 46 w 48"/>
                  <a:gd name="T9" fmla="*/ 100 h 677"/>
                  <a:gd name="T10" fmla="*/ 33 w 48"/>
                  <a:gd name="T11" fmla="*/ 339 h 677"/>
                  <a:gd name="T12" fmla="*/ 11 w 48"/>
                  <a:gd name="T13" fmla="*/ 578 h 677"/>
                  <a:gd name="T14" fmla="*/ 3 w 48"/>
                  <a:gd name="T15" fmla="*/ 651 h 677"/>
                  <a:gd name="T16" fmla="*/ 1 w 48"/>
                  <a:gd name="T17" fmla="*/ 670 h 677"/>
                  <a:gd name="T18" fmla="*/ 0 w 48"/>
                  <a:gd name="T19" fmla="*/ 675 h 677"/>
                  <a:gd name="T20" fmla="*/ 0 w 48"/>
                  <a:gd name="T21" fmla="*/ 677 h 677"/>
                  <a:gd name="T22" fmla="*/ 0 w 48"/>
                  <a:gd name="T23" fmla="*/ 675 h 677"/>
                  <a:gd name="T24" fmla="*/ 1 w 48"/>
                  <a:gd name="T25" fmla="*/ 670 h 677"/>
                  <a:gd name="T26" fmla="*/ 2 w 48"/>
                  <a:gd name="T27" fmla="*/ 650 h 677"/>
                  <a:gd name="T28" fmla="*/ 9 w 48"/>
                  <a:gd name="T29" fmla="*/ 578 h 677"/>
                  <a:gd name="T30" fmla="*/ 31 w 48"/>
                  <a:gd name="T31" fmla="*/ 339 h 677"/>
                  <a:gd name="T32" fmla="*/ 45 w 48"/>
                  <a:gd name="T33" fmla="*/ 100 h 677"/>
                  <a:gd name="T34" fmla="*/ 47 w 48"/>
                  <a:gd name="T35" fmla="*/ 27 h 677"/>
                  <a:gd name="T36" fmla="*/ 47 w 48"/>
                  <a:gd name="T37" fmla="*/ 7 h 677"/>
                  <a:gd name="T38" fmla="*/ 47 w 48"/>
                  <a:gd name="T39" fmla="*/ 2 h 677"/>
                  <a:gd name="T40" fmla="*/ 47 w 48"/>
                  <a:gd name="T41" fmla="*/ 0 h 6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77">
                    <a:moveTo>
                      <a:pt x="47" y="0"/>
                    </a:moveTo>
                    <a:cubicBezTo>
                      <a:pt x="48" y="0"/>
                      <a:pt x="48" y="1"/>
                      <a:pt x="48" y="2"/>
                    </a:cubicBezTo>
                    <a:cubicBezTo>
                      <a:pt x="48" y="3"/>
                      <a:pt x="48" y="5"/>
                      <a:pt x="48" y="7"/>
                    </a:cubicBezTo>
                    <a:cubicBezTo>
                      <a:pt x="48" y="12"/>
                      <a:pt x="48" y="18"/>
                      <a:pt x="48" y="27"/>
                    </a:cubicBezTo>
                    <a:cubicBezTo>
                      <a:pt x="48" y="44"/>
                      <a:pt x="47" y="69"/>
                      <a:pt x="46" y="100"/>
                    </a:cubicBezTo>
                    <a:cubicBezTo>
                      <a:pt x="44" y="161"/>
                      <a:pt x="40" y="246"/>
                      <a:pt x="33" y="339"/>
                    </a:cubicBezTo>
                    <a:cubicBezTo>
                      <a:pt x="26" y="433"/>
                      <a:pt x="17" y="517"/>
                      <a:pt x="11" y="578"/>
                    </a:cubicBezTo>
                    <a:cubicBezTo>
                      <a:pt x="8" y="609"/>
                      <a:pt x="5" y="633"/>
                      <a:pt x="3" y="651"/>
                    </a:cubicBezTo>
                    <a:cubicBezTo>
                      <a:pt x="2" y="659"/>
                      <a:pt x="2" y="666"/>
                      <a:pt x="1" y="670"/>
                    </a:cubicBezTo>
                    <a:cubicBezTo>
                      <a:pt x="1" y="672"/>
                      <a:pt x="1" y="674"/>
                      <a:pt x="0" y="675"/>
                    </a:cubicBezTo>
                    <a:cubicBezTo>
                      <a:pt x="0" y="676"/>
                      <a:pt x="0" y="677"/>
                      <a:pt x="0" y="677"/>
                    </a:cubicBezTo>
                    <a:cubicBezTo>
                      <a:pt x="0" y="677"/>
                      <a:pt x="0" y="676"/>
                      <a:pt x="0" y="675"/>
                    </a:cubicBezTo>
                    <a:cubicBezTo>
                      <a:pt x="0" y="674"/>
                      <a:pt x="1" y="672"/>
                      <a:pt x="1" y="670"/>
                    </a:cubicBezTo>
                    <a:cubicBezTo>
                      <a:pt x="1" y="666"/>
                      <a:pt x="2" y="659"/>
                      <a:pt x="2" y="650"/>
                    </a:cubicBezTo>
                    <a:cubicBezTo>
                      <a:pt x="4" y="633"/>
                      <a:pt x="6" y="609"/>
                      <a:pt x="9" y="578"/>
                    </a:cubicBezTo>
                    <a:cubicBezTo>
                      <a:pt x="15" y="517"/>
                      <a:pt x="24" y="433"/>
                      <a:pt x="31" y="339"/>
                    </a:cubicBezTo>
                    <a:cubicBezTo>
                      <a:pt x="38" y="246"/>
                      <a:pt x="43" y="161"/>
                      <a:pt x="45" y="100"/>
                    </a:cubicBezTo>
                    <a:cubicBezTo>
                      <a:pt x="46" y="69"/>
                      <a:pt x="46" y="44"/>
                      <a:pt x="47" y="27"/>
                    </a:cubicBezTo>
                    <a:cubicBezTo>
                      <a:pt x="47" y="18"/>
                      <a:pt x="47" y="12"/>
                      <a:pt x="47" y="7"/>
                    </a:cubicBezTo>
                    <a:cubicBezTo>
                      <a:pt x="47" y="5"/>
                      <a:pt x="47" y="3"/>
                      <a:pt x="47" y="2"/>
                    </a:cubicBezTo>
                    <a:cubicBezTo>
                      <a:pt x="47" y="1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1" name="Freeform 153">
                <a:extLst>
                  <a:ext uri="{FF2B5EF4-FFF2-40B4-BE49-F238E27FC236}">
                    <a16:creationId xmlns:a16="http://schemas.microsoft.com/office/drawing/2014/main" id="{4FC11EC3-D7B1-F32D-95FC-917D7F2D9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0" y="2099"/>
                <a:ext cx="122" cy="104"/>
              </a:xfrm>
              <a:custGeom>
                <a:avLst/>
                <a:gdLst>
                  <a:gd name="T0" fmla="*/ 73 w 74"/>
                  <a:gd name="T1" fmla="*/ 0 h 63"/>
                  <a:gd name="T2" fmla="*/ 73 w 74"/>
                  <a:gd name="T3" fmla="*/ 4 h 63"/>
                  <a:gd name="T4" fmla="*/ 70 w 74"/>
                  <a:gd name="T5" fmla="*/ 15 h 63"/>
                  <a:gd name="T6" fmla="*/ 49 w 74"/>
                  <a:gd name="T7" fmla="*/ 46 h 63"/>
                  <a:gd name="T8" fmla="*/ 15 w 74"/>
                  <a:gd name="T9" fmla="*/ 62 h 63"/>
                  <a:gd name="T10" fmla="*/ 4 w 74"/>
                  <a:gd name="T11" fmla="*/ 63 h 63"/>
                  <a:gd name="T12" fmla="*/ 0 w 74"/>
                  <a:gd name="T13" fmla="*/ 62 h 63"/>
                  <a:gd name="T14" fmla="*/ 15 w 74"/>
                  <a:gd name="T15" fmla="*/ 60 h 63"/>
                  <a:gd name="T16" fmla="*/ 48 w 74"/>
                  <a:gd name="T17" fmla="*/ 44 h 63"/>
                  <a:gd name="T18" fmla="*/ 69 w 74"/>
                  <a:gd name="T19" fmla="*/ 15 h 63"/>
                  <a:gd name="T20" fmla="*/ 73 w 74"/>
                  <a:gd name="T2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63">
                    <a:moveTo>
                      <a:pt x="73" y="0"/>
                    </a:moveTo>
                    <a:cubicBezTo>
                      <a:pt x="74" y="0"/>
                      <a:pt x="73" y="2"/>
                      <a:pt x="73" y="4"/>
                    </a:cubicBezTo>
                    <a:cubicBezTo>
                      <a:pt x="73" y="7"/>
                      <a:pt x="72" y="11"/>
                      <a:pt x="70" y="15"/>
                    </a:cubicBezTo>
                    <a:cubicBezTo>
                      <a:pt x="67" y="24"/>
                      <a:pt x="60" y="36"/>
                      <a:pt x="49" y="46"/>
                    </a:cubicBezTo>
                    <a:cubicBezTo>
                      <a:pt x="38" y="55"/>
                      <a:pt x="25" y="60"/>
                      <a:pt x="15" y="62"/>
                    </a:cubicBezTo>
                    <a:cubicBezTo>
                      <a:pt x="11" y="63"/>
                      <a:pt x="7" y="63"/>
                      <a:pt x="4" y="63"/>
                    </a:cubicBezTo>
                    <a:cubicBezTo>
                      <a:pt x="1" y="63"/>
                      <a:pt x="0" y="63"/>
                      <a:pt x="0" y="62"/>
                    </a:cubicBezTo>
                    <a:cubicBezTo>
                      <a:pt x="0" y="62"/>
                      <a:pt x="6" y="62"/>
                      <a:pt x="15" y="60"/>
                    </a:cubicBezTo>
                    <a:cubicBezTo>
                      <a:pt x="24" y="58"/>
                      <a:pt x="37" y="54"/>
                      <a:pt x="48" y="44"/>
                    </a:cubicBezTo>
                    <a:cubicBezTo>
                      <a:pt x="59" y="35"/>
                      <a:pt x="65" y="23"/>
                      <a:pt x="69" y="15"/>
                    </a:cubicBezTo>
                    <a:cubicBezTo>
                      <a:pt x="72" y="6"/>
                      <a:pt x="73" y="0"/>
                      <a:pt x="7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2" name="Freeform 154">
                <a:extLst>
                  <a:ext uri="{FF2B5EF4-FFF2-40B4-BE49-F238E27FC236}">
                    <a16:creationId xmlns:a16="http://schemas.microsoft.com/office/drawing/2014/main" id="{D244C9C1-9579-4789-6C4D-B397F846B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4" y="2114"/>
                <a:ext cx="18" cy="20"/>
              </a:xfrm>
              <a:custGeom>
                <a:avLst/>
                <a:gdLst>
                  <a:gd name="T0" fmla="*/ 11 w 11"/>
                  <a:gd name="T1" fmla="*/ 6 h 12"/>
                  <a:gd name="T2" fmla="*/ 6 w 11"/>
                  <a:gd name="T3" fmla="*/ 11 h 12"/>
                  <a:gd name="T4" fmla="*/ 0 w 11"/>
                  <a:gd name="T5" fmla="*/ 6 h 12"/>
                  <a:gd name="T6" fmla="*/ 5 w 11"/>
                  <a:gd name="T7" fmla="*/ 0 h 12"/>
                  <a:gd name="T8" fmla="*/ 11 w 11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2">
                    <a:moveTo>
                      <a:pt x="11" y="6"/>
                    </a:moveTo>
                    <a:cubicBezTo>
                      <a:pt x="11" y="9"/>
                      <a:pt x="9" y="11"/>
                      <a:pt x="6" y="11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9" y="0"/>
                      <a:pt x="11" y="2"/>
                      <a:pt x="11" y="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3" name="Freeform 155">
                <a:extLst>
                  <a:ext uri="{FF2B5EF4-FFF2-40B4-BE49-F238E27FC236}">
                    <a16:creationId xmlns:a16="http://schemas.microsoft.com/office/drawing/2014/main" id="{19464750-6AA1-4FEA-E59E-3413E939D4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1" y="2087"/>
                <a:ext cx="52" cy="107"/>
              </a:xfrm>
              <a:custGeom>
                <a:avLst/>
                <a:gdLst>
                  <a:gd name="T0" fmla="*/ 31 w 32"/>
                  <a:gd name="T1" fmla="*/ 65 h 65"/>
                  <a:gd name="T2" fmla="*/ 23 w 32"/>
                  <a:gd name="T3" fmla="*/ 58 h 65"/>
                  <a:gd name="T4" fmla="*/ 9 w 32"/>
                  <a:gd name="T5" fmla="*/ 36 h 65"/>
                  <a:gd name="T6" fmla="*/ 1 w 32"/>
                  <a:gd name="T7" fmla="*/ 11 h 65"/>
                  <a:gd name="T8" fmla="*/ 0 w 32"/>
                  <a:gd name="T9" fmla="*/ 0 h 65"/>
                  <a:gd name="T10" fmla="*/ 2 w 32"/>
                  <a:gd name="T11" fmla="*/ 10 h 65"/>
                  <a:gd name="T12" fmla="*/ 11 w 32"/>
                  <a:gd name="T13" fmla="*/ 35 h 65"/>
                  <a:gd name="T14" fmla="*/ 24 w 32"/>
                  <a:gd name="T15" fmla="*/ 57 h 65"/>
                  <a:gd name="T16" fmla="*/ 31 w 32"/>
                  <a:gd name="T17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65">
                    <a:moveTo>
                      <a:pt x="31" y="65"/>
                    </a:moveTo>
                    <a:cubicBezTo>
                      <a:pt x="31" y="65"/>
                      <a:pt x="28" y="62"/>
                      <a:pt x="23" y="58"/>
                    </a:cubicBezTo>
                    <a:cubicBezTo>
                      <a:pt x="19" y="53"/>
                      <a:pt x="13" y="45"/>
                      <a:pt x="9" y="36"/>
                    </a:cubicBezTo>
                    <a:cubicBezTo>
                      <a:pt x="4" y="27"/>
                      <a:pt x="2" y="17"/>
                      <a:pt x="1" y="11"/>
                    </a:cubicBezTo>
                    <a:cubicBezTo>
                      <a:pt x="0" y="4"/>
                      <a:pt x="0" y="0"/>
                      <a:pt x="0" y="0"/>
                    </a:cubicBezTo>
                    <a:cubicBezTo>
                      <a:pt x="1" y="0"/>
                      <a:pt x="1" y="4"/>
                      <a:pt x="2" y="10"/>
                    </a:cubicBezTo>
                    <a:cubicBezTo>
                      <a:pt x="4" y="17"/>
                      <a:pt x="6" y="26"/>
                      <a:pt x="11" y="35"/>
                    </a:cubicBezTo>
                    <a:cubicBezTo>
                      <a:pt x="15" y="44"/>
                      <a:pt x="20" y="51"/>
                      <a:pt x="24" y="57"/>
                    </a:cubicBezTo>
                    <a:cubicBezTo>
                      <a:pt x="29" y="62"/>
                      <a:pt x="32" y="65"/>
                      <a:pt x="31" y="6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4" name="Freeform 156">
                <a:extLst>
                  <a:ext uri="{FF2B5EF4-FFF2-40B4-BE49-F238E27FC236}">
                    <a16:creationId xmlns:a16="http://schemas.microsoft.com/office/drawing/2014/main" id="{786239C6-14AD-98C3-310A-EEA18823F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4" y="2231"/>
                <a:ext cx="465" cy="397"/>
              </a:xfrm>
              <a:custGeom>
                <a:avLst/>
                <a:gdLst>
                  <a:gd name="T0" fmla="*/ 0 w 465"/>
                  <a:gd name="T1" fmla="*/ 131 h 397"/>
                  <a:gd name="T2" fmla="*/ 346 w 465"/>
                  <a:gd name="T3" fmla="*/ 0 h 397"/>
                  <a:gd name="T4" fmla="*/ 465 w 465"/>
                  <a:gd name="T5" fmla="*/ 270 h 397"/>
                  <a:gd name="T6" fmla="*/ 99 w 465"/>
                  <a:gd name="T7" fmla="*/ 397 h 397"/>
                  <a:gd name="T8" fmla="*/ 0 w 465"/>
                  <a:gd name="T9" fmla="*/ 131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5" h="397">
                    <a:moveTo>
                      <a:pt x="0" y="131"/>
                    </a:moveTo>
                    <a:lnTo>
                      <a:pt x="346" y="0"/>
                    </a:lnTo>
                    <a:lnTo>
                      <a:pt x="465" y="270"/>
                    </a:lnTo>
                    <a:lnTo>
                      <a:pt x="99" y="397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5" name="Freeform 157">
                <a:extLst>
                  <a:ext uri="{FF2B5EF4-FFF2-40B4-BE49-F238E27FC236}">
                    <a16:creationId xmlns:a16="http://schemas.microsoft.com/office/drawing/2014/main" id="{1B9B1028-273A-0E46-FB54-4BDBBEEC7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8" y="2165"/>
                <a:ext cx="168" cy="244"/>
              </a:xfrm>
              <a:custGeom>
                <a:avLst/>
                <a:gdLst>
                  <a:gd name="T0" fmla="*/ 97 w 102"/>
                  <a:gd name="T1" fmla="*/ 125 h 148"/>
                  <a:gd name="T2" fmla="*/ 77 w 102"/>
                  <a:gd name="T3" fmla="*/ 105 h 148"/>
                  <a:gd name="T4" fmla="*/ 72 w 102"/>
                  <a:gd name="T5" fmla="*/ 80 h 148"/>
                  <a:gd name="T6" fmla="*/ 84 w 102"/>
                  <a:gd name="T7" fmla="*/ 66 h 148"/>
                  <a:gd name="T8" fmla="*/ 98 w 102"/>
                  <a:gd name="T9" fmla="*/ 61 h 148"/>
                  <a:gd name="T10" fmla="*/ 85 w 102"/>
                  <a:gd name="T11" fmla="*/ 42 h 148"/>
                  <a:gd name="T12" fmla="*/ 59 w 102"/>
                  <a:gd name="T13" fmla="*/ 25 h 148"/>
                  <a:gd name="T14" fmla="*/ 57 w 102"/>
                  <a:gd name="T15" fmla="*/ 0 h 148"/>
                  <a:gd name="T16" fmla="*/ 0 w 102"/>
                  <a:gd name="T17" fmla="*/ 11 h 148"/>
                  <a:gd name="T18" fmla="*/ 8 w 102"/>
                  <a:gd name="T19" fmla="*/ 68 h 148"/>
                  <a:gd name="T20" fmla="*/ 29 w 102"/>
                  <a:gd name="T21" fmla="*/ 127 h 148"/>
                  <a:gd name="T22" fmla="*/ 53 w 102"/>
                  <a:gd name="T23" fmla="*/ 134 h 148"/>
                  <a:gd name="T24" fmla="*/ 74 w 102"/>
                  <a:gd name="T25" fmla="*/ 139 h 148"/>
                  <a:gd name="T26" fmla="*/ 89 w 102"/>
                  <a:gd name="T27" fmla="*/ 137 h 148"/>
                  <a:gd name="T28" fmla="*/ 91 w 102"/>
                  <a:gd name="T29" fmla="*/ 137 h 148"/>
                  <a:gd name="T30" fmla="*/ 97 w 102"/>
                  <a:gd name="T31" fmla="*/ 125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148">
                    <a:moveTo>
                      <a:pt x="97" y="125"/>
                    </a:moveTo>
                    <a:cubicBezTo>
                      <a:pt x="89" y="118"/>
                      <a:pt x="78" y="107"/>
                      <a:pt x="77" y="105"/>
                    </a:cubicBezTo>
                    <a:cubicBezTo>
                      <a:pt x="77" y="104"/>
                      <a:pt x="74" y="91"/>
                      <a:pt x="72" y="80"/>
                    </a:cubicBezTo>
                    <a:cubicBezTo>
                      <a:pt x="70" y="72"/>
                      <a:pt x="76" y="65"/>
                      <a:pt x="84" y="66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8" y="61"/>
                      <a:pt x="92" y="48"/>
                      <a:pt x="85" y="42"/>
                    </a:cubicBezTo>
                    <a:cubicBezTo>
                      <a:pt x="78" y="35"/>
                      <a:pt x="59" y="25"/>
                      <a:pt x="59" y="25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23" y="122"/>
                      <a:pt x="29" y="127"/>
                    </a:cubicBezTo>
                    <a:cubicBezTo>
                      <a:pt x="35" y="132"/>
                      <a:pt x="53" y="134"/>
                      <a:pt x="53" y="134"/>
                    </a:cubicBezTo>
                    <a:cubicBezTo>
                      <a:pt x="60" y="142"/>
                      <a:pt x="74" y="139"/>
                      <a:pt x="74" y="139"/>
                    </a:cubicBezTo>
                    <a:cubicBezTo>
                      <a:pt x="90" y="148"/>
                      <a:pt x="89" y="137"/>
                      <a:pt x="89" y="137"/>
                    </a:cubicBezTo>
                    <a:cubicBezTo>
                      <a:pt x="90" y="137"/>
                      <a:pt x="90" y="137"/>
                      <a:pt x="91" y="137"/>
                    </a:cubicBezTo>
                    <a:cubicBezTo>
                      <a:pt x="98" y="139"/>
                      <a:pt x="102" y="130"/>
                      <a:pt x="97" y="125"/>
                    </a:cubicBezTo>
                    <a:close/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6" name="Freeform 158">
                <a:extLst>
                  <a:ext uri="{FF2B5EF4-FFF2-40B4-BE49-F238E27FC236}">
                    <a16:creationId xmlns:a16="http://schemas.microsoft.com/office/drawing/2014/main" id="{CD050800-F1DC-B3A7-1D48-54AC71EAF8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9" y="2306"/>
                <a:ext cx="57" cy="83"/>
              </a:xfrm>
              <a:custGeom>
                <a:avLst/>
                <a:gdLst>
                  <a:gd name="T0" fmla="*/ 1 w 35"/>
                  <a:gd name="T1" fmla="*/ 0 h 50"/>
                  <a:gd name="T2" fmla="*/ 1 w 35"/>
                  <a:gd name="T3" fmla="*/ 9 h 50"/>
                  <a:gd name="T4" fmla="*/ 8 w 35"/>
                  <a:gd name="T5" fmla="*/ 32 h 50"/>
                  <a:gd name="T6" fmla="*/ 26 w 35"/>
                  <a:gd name="T7" fmla="*/ 46 h 50"/>
                  <a:gd name="T8" fmla="*/ 35 w 35"/>
                  <a:gd name="T9" fmla="*/ 50 h 50"/>
                  <a:gd name="T10" fmla="*/ 27 w 35"/>
                  <a:gd name="T11" fmla="*/ 45 h 50"/>
                  <a:gd name="T12" fmla="*/ 10 w 35"/>
                  <a:gd name="T13" fmla="*/ 30 h 50"/>
                  <a:gd name="T14" fmla="*/ 2 w 35"/>
                  <a:gd name="T15" fmla="*/ 9 h 50"/>
                  <a:gd name="T16" fmla="*/ 1 w 35"/>
                  <a:gd name="T1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50">
                    <a:moveTo>
                      <a:pt x="1" y="0"/>
                    </a:moveTo>
                    <a:cubicBezTo>
                      <a:pt x="0" y="0"/>
                      <a:pt x="0" y="3"/>
                      <a:pt x="1" y="9"/>
                    </a:cubicBezTo>
                    <a:cubicBezTo>
                      <a:pt x="1" y="15"/>
                      <a:pt x="3" y="24"/>
                      <a:pt x="8" y="32"/>
                    </a:cubicBezTo>
                    <a:cubicBezTo>
                      <a:pt x="13" y="40"/>
                      <a:pt x="21" y="44"/>
                      <a:pt x="26" y="46"/>
                    </a:cubicBezTo>
                    <a:cubicBezTo>
                      <a:pt x="31" y="49"/>
                      <a:pt x="35" y="50"/>
                      <a:pt x="35" y="50"/>
                    </a:cubicBezTo>
                    <a:cubicBezTo>
                      <a:pt x="35" y="50"/>
                      <a:pt x="32" y="48"/>
                      <a:pt x="27" y="45"/>
                    </a:cubicBezTo>
                    <a:cubicBezTo>
                      <a:pt x="22" y="42"/>
                      <a:pt x="15" y="38"/>
                      <a:pt x="10" y="30"/>
                    </a:cubicBezTo>
                    <a:cubicBezTo>
                      <a:pt x="5" y="23"/>
                      <a:pt x="4" y="15"/>
                      <a:pt x="2" y="9"/>
                    </a:cubicBezTo>
                    <a:cubicBezTo>
                      <a:pt x="1" y="3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7" name="Freeform 159">
                <a:extLst>
                  <a:ext uri="{FF2B5EF4-FFF2-40B4-BE49-F238E27FC236}">
                    <a16:creationId xmlns:a16="http://schemas.microsoft.com/office/drawing/2014/main" id="{5A0A316D-B4F9-F112-DE33-C98622530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7" y="2316"/>
                <a:ext cx="53" cy="78"/>
              </a:xfrm>
              <a:custGeom>
                <a:avLst/>
                <a:gdLst>
                  <a:gd name="T0" fmla="*/ 1 w 32"/>
                  <a:gd name="T1" fmla="*/ 0 h 47"/>
                  <a:gd name="T2" fmla="*/ 1 w 32"/>
                  <a:gd name="T3" fmla="*/ 9 h 47"/>
                  <a:gd name="T4" fmla="*/ 3 w 32"/>
                  <a:gd name="T5" fmla="*/ 19 h 47"/>
                  <a:gd name="T6" fmla="*/ 8 w 32"/>
                  <a:gd name="T7" fmla="*/ 29 h 47"/>
                  <a:gd name="T8" fmla="*/ 17 w 32"/>
                  <a:gd name="T9" fmla="*/ 37 h 47"/>
                  <a:gd name="T10" fmla="*/ 24 w 32"/>
                  <a:gd name="T11" fmla="*/ 43 h 47"/>
                  <a:gd name="T12" fmla="*/ 32 w 32"/>
                  <a:gd name="T13" fmla="*/ 47 h 47"/>
                  <a:gd name="T14" fmla="*/ 26 w 32"/>
                  <a:gd name="T15" fmla="*/ 41 h 47"/>
                  <a:gd name="T16" fmla="*/ 18 w 32"/>
                  <a:gd name="T17" fmla="*/ 35 h 47"/>
                  <a:gd name="T18" fmla="*/ 10 w 32"/>
                  <a:gd name="T19" fmla="*/ 28 h 47"/>
                  <a:gd name="T20" fmla="*/ 5 w 32"/>
                  <a:gd name="T21" fmla="*/ 18 h 47"/>
                  <a:gd name="T22" fmla="*/ 3 w 32"/>
                  <a:gd name="T23" fmla="*/ 9 h 47"/>
                  <a:gd name="T24" fmla="*/ 1 w 32"/>
                  <a:gd name="T2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47">
                    <a:moveTo>
                      <a:pt x="1" y="0"/>
                    </a:moveTo>
                    <a:cubicBezTo>
                      <a:pt x="1" y="0"/>
                      <a:pt x="0" y="4"/>
                      <a:pt x="1" y="9"/>
                    </a:cubicBezTo>
                    <a:cubicBezTo>
                      <a:pt x="1" y="12"/>
                      <a:pt x="2" y="15"/>
                      <a:pt x="3" y="19"/>
                    </a:cubicBezTo>
                    <a:cubicBezTo>
                      <a:pt x="4" y="22"/>
                      <a:pt x="5" y="26"/>
                      <a:pt x="8" y="29"/>
                    </a:cubicBezTo>
                    <a:cubicBezTo>
                      <a:pt x="11" y="33"/>
                      <a:pt x="14" y="35"/>
                      <a:pt x="17" y="37"/>
                    </a:cubicBezTo>
                    <a:cubicBezTo>
                      <a:pt x="19" y="39"/>
                      <a:pt x="22" y="41"/>
                      <a:pt x="24" y="43"/>
                    </a:cubicBezTo>
                    <a:cubicBezTo>
                      <a:pt x="29" y="46"/>
                      <a:pt x="32" y="47"/>
                      <a:pt x="32" y="47"/>
                    </a:cubicBezTo>
                    <a:cubicBezTo>
                      <a:pt x="32" y="47"/>
                      <a:pt x="30" y="45"/>
                      <a:pt x="26" y="41"/>
                    </a:cubicBezTo>
                    <a:cubicBezTo>
                      <a:pt x="23" y="39"/>
                      <a:pt x="21" y="37"/>
                      <a:pt x="18" y="35"/>
                    </a:cubicBezTo>
                    <a:cubicBezTo>
                      <a:pt x="15" y="33"/>
                      <a:pt x="12" y="31"/>
                      <a:pt x="10" y="28"/>
                    </a:cubicBezTo>
                    <a:cubicBezTo>
                      <a:pt x="7" y="25"/>
                      <a:pt x="6" y="21"/>
                      <a:pt x="5" y="18"/>
                    </a:cubicBezTo>
                    <a:cubicBezTo>
                      <a:pt x="4" y="14"/>
                      <a:pt x="3" y="11"/>
                      <a:pt x="3" y="9"/>
                    </a:cubicBezTo>
                    <a:cubicBezTo>
                      <a:pt x="2" y="4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8" name="Freeform 160">
                <a:extLst>
                  <a:ext uri="{FF2B5EF4-FFF2-40B4-BE49-F238E27FC236}">
                    <a16:creationId xmlns:a16="http://schemas.microsoft.com/office/drawing/2014/main" id="{B4A11A0D-ED91-6F73-FAFF-0FB9D28FC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" y="2331"/>
                <a:ext cx="39" cy="56"/>
              </a:xfrm>
              <a:custGeom>
                <a:avLst/>
                <a:gdLst>
                  <a:gd name="T0" fmla="*/ 1 w 24"/>
                  <a:gd name="T1" fmla="*/ 0 h 34"/>
                  <a:gd name="T2" fmla="*/ 6 w 24"/>
                  <a:gd name="T3" fmla="*/ 21 h 34"/>
                  <a:gd name="T4" fmla="*/ 9 w 24"/>
                  <a:gd name="T5" fmla="*/ 25 h 34"/>
                  <a:gd name="T6" fmla="*/ 12 w 24"/>
                  <a:gd name="T7" fmla="*/ 28 h 34"/>
                  <a:gd name="T8" fmla="*/ 18 w 24"/>
                  <a:gd name="T9" fmla="*/ 31 h 34"/>
                  <a:gd name="T10" fmla="*/ 24 w 24"/>
                  <a:gd name="T11" fmla="*/ 33 h 34"/>
                  <a:gd name="T12" fmla="*/ 19 w 24"/>
                  <a:gd name="T13" fmla="*/ 30 h 34"/>
                  <a:gd name="T14" fmla="*/ 13 w 24"/>
                  <a:gd name="T15" fmla="*/ 26 h 34"/>
                  <a:gd name="T16" fmla="*/ 11 w 24"/>
                  <a:gd name="T17" fmla="*/ 23 h 34"/>
                  <a:gd name="T18" fmla="*/ 8 w 24"/>
                  <a:gd name="T19" fmla="*/ 20 h 34"/>
                  <a:gd name="T20" fmla="*/ 3 w 24"/>
                  <a:gd name="T21" fmla="*/ 6 h 34"/>
                  <a:gd name="T22" fmla="*/ 1 w 24"/>
                  <a:gd name="T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34">
                    <a:moveTo>
                      <a:pt x="1" y="0"/>
                    </a:moveTo>
                    <a:cubicBezTo>
                      <a:pt x="0" y="0"/>
                      <a:pt x="2" y="10"/>
                      <a:pt x="6" y="21"/>
                    </a:cubicBezTo>
                    <a:cubicBezTo>
                      <a:pt x="7" y="23"/>
                      <a:pt x="8" y="24"/>
                      <a:pt x="9" y="25"/>
                    </a:cubicBezTo>
                    <a:cubicBezTo>
                      <a:pt x="10" y="26"/>
                      <a:pt x="11" y="27"/>
                      <a:pt x="12" y="28"/>
                    </a:cubicBezTo>
                    <a:cubicBezTo>
                      <a:pt x="14" y="29"/>
                      <a:pt x="16" y="30"/>
                      <a:pt x="18" y="31"/>
                    </a:cubicBezTo>
                    <a:cubicBezTo>
                      <a:pt x="21" y="33"/>
                      <a:pt x="24" y="34"/>
                      <a:pt x="24" y="33"/>
                    </a:cubicBezTo>
                    <a:cubicBezTo>
                      <a:pt x="24" y="33"/>
                      <a:pt x="22" y="32"/>
                      <a:pt x="19" y="30"/>
                    </a:cubicBezTo>
                    <a:cubicBezTo>
                      <a:pt x="17" y="29"/>
                      <a:pt x="15" y="27"/>
                      <a:pt x="13" y="26"/>
                    </a:cubicBezTo>
                    <a:cubicBezTo>
                      <a:pt x="12" y="25"/>
                      <a:pt x="11" y="24"/>
                      <a:pt x="11" y="23"/>
                    </a:cubicBezTo>
                    <a:cubicBezTo>
                      <a:pt x="10" y="22"/>
                      <a:pt x="9" y="21"/>
                      <a:pt x="8" y="20"/>
                    </a:cubicBezTo>
                    <a:cubicBezTo>
                      <a:pt x="7" y="14"/>
                      <a:pt x="5" y="9"/>
                      <a:pt x="3" y="6"/>
                    </a:cubicBezTo>
                    <a:cubicBezTo>
                      <a:pt x="2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9" name="Freeform 161">
                <a:extLst>
                  <a:ext uri="{FF2B5EF4-FFF2-40B4-BE49-F238E27FC236}">
                    <a16:creationId xmlns:a16="http://schemas.microsoft.com/office/drawing/2014/main" id="{958023AF-549C-5DF1-4A30-F933FF9E1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6" y="1337"/>
                <a:ext cx="382" cy="390"/>
              </a:xfrm>
              <a:custGeom>
                <a:avLst/>
                <a:gdLst>
                  <a:gd name="T0" fmla="*/ 0 w 232"/>
                  <a:gd name="T1" fmla="*/ 0 h 237"/>
                  <a:gd name="T2" fmla="*/ 69 w 232"/>
                  <a:gd name="T3" fmla="*/ 52 h 237"/>
                  <a:gd name="T4" fmla="*/ 121 w 232"/>
                  <a:gd name="T5" fmla="*/ 130 h 237"/>
                  <a:gd name="T6" fmla="*/ 165 w 232"/>
                  <a:gd name="T7" fmla="*/ 15 h 237"/>
                  <a:gd name="T8" fmla="*/ 232 w 232"/>
                  <a:gd name="T9" fmla="*/ 44 h 237"/>
                  <a:gd name="T10" fmla="*/ 187 w 232"/>
                  <a:gd name="T11" fmla="*/ 197 h 237"/>
                  <a:gd name="T12" fmla="*/ 118 w 232"/>
                  <a:gd name="T13" fmla="*/ 235 h 237"/>
                  <a:gd name="T14" fmla="*/ 69 w 232"/>
                  <a:gd name="T15" fmla="*/ 211 h 237"/>
                  <a:gd name="T16" fmla="*/ 37 w 232"/>
                  <a:gd name="T17" fmla="*/ 174 h 237"/>
                  <a:gd name="T18" fmla="*/ 0 w 232"/>
                  <a:gd name="T19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2" h="237">
                    <a:moveTo>
                      <a:pt x="0" y="0"/>
                    </a:moveTo>
                    <a:cubicBezTo>
                      <a:pt x="0" y="0"/>
                      <a:pt x="49" y="24"/>
                      <a:pt x="69" y="52"/>
                    </a:cubicBezTo>
                    <a:cubicBezTo>
                      <a:pt x="88" y="80"/>
                      <a:pt x="121" y="130"/>
                      <a:pt x="121" y="130"/>
                    </a:cubicBezTo>
                    <a:cubicBezTo>
                      <a:pt x="165" y="15"/>
                      <a:pt x="165" y="15"/>
                      <a:pt x="165" y="15"/>
                    </a:cubicBezTo>
                    <a:cubicBezTo>
                      <a:pt x="232" y="44"/>
                      <a:pt x="232" y="44"/>
                      <a:pt x="232" y="44"/>
                    </a:cubicBezTo>
                    <a:cubicBezTo>
                      <a:pt x="232" y="44"/>
                      <a:pt x="194" y="182"/>
                      <a:pt x="187" y="197"/>
                    </a:cubicBezTo>
                    <a:cubicBezTo>
                      <a:pt x="177" y="218"/>
                      <a:pt x="154" y="237"/>
                      <a:pt x="118" y="235"/>
                    </a:cubicBezTo>
                    <a:cubicBezTo>
                      <a:pt x="82" y="232"/>
                      <a:pt x="93" y="233"/>
                      <a:pt x="69" y="211"/>
                    </a:cubicBezTo>
                    <a:cubicBezTo>
                      <a:pt x="37" y="174"/>
                      <a:pt x="37" y="174"/>
                      <a:pt x="37" y="174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77E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0" name="Freeform 162">
                <a:extLst>
                  <a:ext uri="{FF2B5EF4-FFF2-40B4-BE49-F238E27FC236}">
                    <a16:creationId xmlns:a16="http://schemas.microsoft.com/office/drawing/2014/main" id="{6C1C37D7-9D9E-7F30-49CB-1D48CC6A6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0" y="1649"/>
                <a:ext cx="28" cy="33"/>
              </a:xfrm>
              <a:custGeom>
                <a:avLst/>
                <a:gdLst>
                  <a:gd name="T0" fmla="*/ 0 w 17"/>
                  <a:gd name="T1" fmla="*/ 0 h 20"/>
                  <a:gd name="T2" fmla="*/ 17 w 17"/>
                  <a:gd name="T3" fmla="*/ 20 h 20"/>
                  <a:gd name="T4" fmla="*/ 0 w 17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20">
                    <a:moveTo>
                      <a:pt x="0" y="0"/>
                    </a:moveTo>
                    <a:cubicBezTo>
                      <a:pt x="5" y="6"/>
                      <a:pt x="12" y="14"/>
                      <a:pt x="17" y="2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1" name="Freeform 163">
                <a:extLst>
                  <a:ext uri="{FF2B5EF4-FFF2-40B4-BE49-F238E27FC236}">
                    <a16:creationId xmlns:a16="http://schemas.microsoft.com/office/drawing/2014/main" id="{8502D98B-97B5-4BC9-8DD9-02154929C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9" y="1519"/>
                <a:ext cx="66" cy="168"/>
              </a:xfrm>
              <a:custGeom>
                <a:avLst/>
                <a:gdLst>
                  <a:gd name="T0" fmla="*/ 0 w 40"/>
                  <a:gd name="T1" fmla="*/ 0 h 102"/>
                  <a:gd name="T2" fmla="*/ 6 w 40"/>
                  <a:gd name="T3" fmla="*/ 64 h 102"/>
                  <a:gd name="T4" fmla="*/ 19 w 40"/>
                  <a:gd name="T5" fmla="*/ 79 h 102"/>
                  <a:gd name="T6" fmla="*/ 19 w 40"/>
                  <a:gd name="T7" fmla="*/ 79 h 102"/>
                  <a:gd name="T8" fmla="*/ 36 w 40"/>
                  <a:gd name="T9" fmla="*/ 99 h 102"/>
                  <a:gd name="T10" fmla="*/ 40 w 40"/>
                  <a:gd name="T11" fmla="*/ 102 h 102"/>
                  <a:gd name="T12" fmla="*/ 0 w 40"/>
                  <a:gd name="T13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02">
                    <a:moveTo>
                      <a:pt x="0" y="0"/>
                    </a:moveTo>
                    <a:cubicBezTo>
                      <a:pt x="6" y="64"/>
                      <a:pt x="6" y="64"/>
                      <a:pt x="6" y="64"/>
                    </a:cubicBezTo>
                    <a:cubicBezTo>
                      <a:pt x="8" y="66"/>
                      <a:pt x="14" y="73"/>
                      <a:pt x="19" y="79"/>
                    </a:cubicBezTo>
                    <a:cubicBezTo>
                      <a:pt x="19" y="79"/>
                      <a:pt x="19" y="79"/>
                      <a:pt x="19" y="79"/>
                    </a:cubicBezTo>
                    <a:cubicBezTo>
                      <a:pt x="36" y="99"/>
                      <a:pt x="36" y="99"/>
                      <a:pt x="36" y="99"/>
                    </a:cubicBezTo>
                    <a:cubicBezTo>
                      <a:pt x="37" y="100"/>
                      <a:pt x="39" y="101"/>
                      <a:pt x="40" y="102"/>
                    </a:cubicBezTo>
                    <a:cubicBezTo>
                      <a:pt x="21" y="71"/>
                      <a:pt x="8" y="35"/>
                      <a:pt x="0" y="0"/>
                    </a:cubicBezTo>
                  </a:path>
                </a:pathLst>
              </a:custGeom>
              <a:solidFill>
                <a:srgbClr val="1A4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2" name="Freeform 164">
                <a:extLst>
                  <a:ext uri="{FF2B5EF4-FFF2-40B4-BE49-F238E27FC236}">
                    <a16:creationId xmlns:a16="http://schemas.microsoft.com/office/drawing/2014/main" id="{41D4AA40-09FD-5FB3-08BE-75FDBBAE4E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7" y="1546"/>
                <a:ext cx="12" cy="92"/>
              </a:xfrm>
              <a:custGeom>
                <a:avLst/>
                <a:gdLst>
                  <a:gd name="T0" fmla="*/ 7 w 7"/>
                  <a:gd name="T1" fmla="*/ 56 h 56"/>
                  <a:gd name="T2" fmla="*/ 5 w 7"/>
                  <a:gd name="T3" fmla="*/ 48 h 56"/>
                  <a:gd name="T4" fmla="*/ 2 w 7"/>
                  <a:gd name="T5" fmla="*/ 28 h 56"/>
                  <a:gd name="T6" fmla="*/ 0 w 7"/>
                  <a:gd name="T7" fmla="*/ 8 h 56"/>
                  <a:gd name="T8" fmla="*/ 0 w 7"/>
                  <a:gd name="T9" fmla="*/ 0 h 56"/>
                  <a:gd name="T10" fmla="*/ 4 w 7"/>
                  <a:gd name="T11" fmla="*/ 28 h 56"/>
                  <a:gd name="T12" fmla="*/ 7 w 7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6">
                    <a:moveTo>
                      <a:pt x="7" y="56"/>
                    </a:moveTo>
                    <a:cubicBezTo>
                      <a:pt x="7" y="56"/>
                      <a:pt x="6" y="53"/>
                      <a:pt x="5" y="48"/>
                    </a:cubicBezTo>
                    <a:cubicBezTo>
                      <a:pt x="4" y="43"/>
                      <a:pt x="3" y="36"/>
                      <a:pt x="2" y="28"/>
                    </a:cubicBezTo>
                    <a:cubicBezTo>
                      <a:pt x="1" y="21"/>
                      <a:pt x="0" y="13"/>
                      <a:pt x="0" y="8"/>
                    </a:cubicBezTo>
                    <a:cubicBezTo>
                      <a:pt x="0" y="3"/>
                      <a:pt x="0" y="0"/>
                      <a:pt x="0" y="0"/>
                    </a:cubicBezTo>
                    <a:cubicBezTo>
                      <a:pt x="1" y="0"/>
                      <a:pt x="2" y="13"/>
                      <a:pt x="4" y="28"/>
                    </a:cubicBezTo>
                    <a:cubicBezTo>
                      <a:pt x="6" y="44"/>
                      <a:pt x="7" y="56"/>
                      <a:pt x="7" y="5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3" name="Freeform 165">
                <a:extLst>
                  <a:ext uri="{FF2B5EF4-FFF2-40B4-BE49-F238E27FC236}">
                    <a16:creationId xmlns:a16="http://schemas.microsoft.com/office/drawing/2014/main" id="{C15C5C41-A6E7-F3A2-A330-64021DE46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3" y="1205"/>
                <a:ext cx="201" cy="105"/>
              </a:xfrm>
              <a:custGeom>
                <a:avLst/>
                <a:gdLst>
                  <a:gd name="T0" fmla="*/ 2 w 122"/>
                  <a:gd name="T1" fmla="*/ 32 h 64"/>
                  <a:gd name="T2" fmla="*/ 0 w 122"/>
                  <a:gd name="T3" fmla="*/ 8 h 64"/>
                  <a:gd name="T4" fmla="*/ 9 w 122"/>
                  <a:gd name="T5" fmla="*/ 1 h 64"/>
                  <a:gd name="T6" fmla="*/ 122 w 122"/>
                  <a:gd name="T7" fmla="*/ 29 h 64"/>
                  <a:gd name="T8" fmla="*/ 121 w 122"/>
                  <a:gd name="T9" fmla="*/ 64 h 64"/>
                  <a:gd name="T10" fmla="*/ 2 w 122"/>
                  <a:gd name="T11" fmla="*/ 3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2" h="64">
                    <a:moveTo>
                      <a:pt x="2" y="32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37" y="7"/>
                      <a:pt x="121" y="25"/>
                      <a:pt x="122" y="29"/>
                    </a:cubicBezTo>
                    <a:cubicBezTo>
                      <a:pt x="122" y="32"/>
                      <a:pt x="122" y="49"/>
                      <a:pt x="121" y="64"/>
                    </a:cubicBezTo>
                    <a:cubicBezTo>
                      <a:pt x="2" y="32"/>
                      <a:pt x="2" y="32"/>
                      <a:pt x="2" y="32"/>
                    </a:cubicBezTo>
                  </a:path>
                </a:pathLst>
              </a:custGeom>
              <a:solidFill>
                <a:srgbClr val="577E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4" name="Freeform 166">
                <a:extLst>
                  <a:ext uri="{FF2B5EF4-FFF2-40B4-BE49-F238E27FC236}">
                    <a16:creationId xmlns:a16="http://schemas.microsoft.com/office/drawing/2014/main" id="{C9B90F2F-B33F-AEDA-930F-A3E17AD26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" y="1361"/>
                <a:ext cx="204" cy="860"/>
              </a:xfrm>
              <a:custGeom>
                <a:avLst/>
                <a:gdLst>
                  <a:gd name="T0" fmla="*/ 42 w 124"/>
                  <a:gd name="T1" fmla="*/ 0 h 522"/>
                  <a:gd name="T2" fmla="*/ 7 w 124"/>
                  <a:gd name="T3" fmla="*/ 77 h 522"/>
                  <a:gd name="T4" fmla="*/ 0 w 124"/>
                  <a:gd name="T5" fmla="*/ 336 h 522"/>
                  <a:gd name="T6" fmla="*/ 48 w 124"/>
                  <a:gd name="T7" fmla="*/ 522 h 522"/>
                  <a:gd name="T8" fmla="*/ 124 w 124"/>
                  <a:gd name="T9" fmla="*/ 503 h 522"/>
                  <a:gd name="T10" fmla="*/ 97 w 124"/>
                  <a:gd name="T11" fmla="*/ 306 h 522"/>
                  <a:gd name="T12" fmla="*/ 100 w 124"/>
                  <a:gd name="T13" fmla="*/ 136 h 522"/>
                  <a:gd name="T14" fmla="*/ 42 w 124"/>
                  <a:gd name="T15" fmla="*/ 0 h 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522">
                    <a:moveTo>
                      <a:pt x="42" y="0"/>
                    </a:moveTo>
                    <a:cubicBezTo>
                      <a:pt x="42" y="0"/>
                      <a:pt x="12" y="21"/>
                      <a:pt x="7" y="77"/>
                    </a:cubicBezTo>
                    <a:cubicBezTo>
                      <a:pt x="4" y="112"/>
                      <a:pt x="0" y="336"/>
                      <a:pt x="0" y="336"/>
                    </a:cubicBezTo>
                    <a:cubicBezTo>
                      <a:pt x="48" y="522"/>
                      <a:pt x="48" y="522"/>
                      <a:pt x="48" y="522"/>
                    </a:cubicBezTo>
                    <a:cubicBezTo>
                      <a:pt x="124" y="503"/>
                      <a:pt x="124" y="503"/>
                      <a:pt x="124" y="503"/>
                    </a:cubicBezTo>
                    <a:cubicBezTo>
                      <a:pt x="97" y="306"/>
                      <a:pt x="97" y="306"/>
                      <a:pt x="97" y="306"/>
                    </a:cubicBezTo>
                    <a:cubicBezTo>
                      <a:pt x="100" y="136"/>
                      <a:pt x="100" y="136"/>
                      <a:pt x="100" y="136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577E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5" name="Freeform 167">
                <a:extLst>
                  <a:ext uri="{FF2B5EF4-FFF2-40B4-BE49-F238E27FC236}">
                    <a16:creationId xmlns:a16="http://schemas.microsoft.com/office/drawing/2014/main" id="{30CCB51D-24BC-1595-BA2D-BFED6B15D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0" y="1569"/>
                <a:ext cx="127" cy="652"/>
              </a:xfrm>
              <a:custGeom>
                <a:avLst/>
                <a:gdLst>
                  <a:gd name="T0" fmla="*/ 0 w 77"/>
                  <a:gd name="T1" fmla="*/ 396 h 396"/>
                  <a:gd name="T2" fmla="*/ 1 w 77"/>
                  <a:gd name="T3" fmla="*/ 396 h 396"/>
                  <a:gd name="T4" fmla="*/ 5 w 77"/>
                  <a:gd name="T5" fmla="*/ 395 h 396"/>
                  <a:gd name="T6" fmla="*/ 20 w 77"/>
                  <a:gd name="T7" fmla="*/ 391 h 396"/>
                  <a:gd name="T8" fmla="*/ 76 w 77"/>
                  <a:gd name="T9" fmla="*/ 376 h 396"/>
                  <a:gd name="T10" fmla="*/ 75 w 77"/>
                  <a:gd name="T11" fmla="*/ 377 h 396"/>
                  <a:gd name="T12" fmla="*/ 54 w 77"/>
                  <a:gd name="T13" fmla="*/ 229 h 396"/>
                  <a:gd name="T14" fmla="*/ 48 w 77"/>
                  <a:gd name="T15" fmla="*/ 189 h 396"/>
                  <a:gd name="T16" fmla="*/ 48 w 77"/>
                  <a:gd name="T17" fmla="*/ 189 h 396"/>
                  <a:gd name="T18" fmla="*/ 48 w 77"/>
                  <a:gd name="T19" fmla="*/ 189 h 396"/>
                  <a:gd name="T20" fmla="*/ 50 w 77"/>
                  <a:gd name="T21" fmla="*/ 54 h 396"/>
                  <a:gd name="T22" fmla="*/ 51 w 77"/>
                  <a:gd name="T23" fmla="*/ 14 h 396"/>
                  <a:gd name="T24" fmla="*/ 52 w 77"/>
                  <a:gd name="T25" fmla="*/ 4 h 396"/>
                  <a:gd name="T26" fmla="*/ 52 w 77"/>
                  <a:gd name="T27" fmla="*/ 1 h 396"/>
                  <a:gd name="T28" fmla="*/ 52 w 77"/>
                  <a:gd name="T29" fmla="*/ 0 h 396"/>
                  <a:gd name="T30" fmla="*/ 52 w 77"/>
                  <a:gd name="T31" fmla="*/ 1 h 396"/>
                  <a:gd name="T32" fmla="*/ 52 w 77"/>
                  <a:gd name="T33" fmla="*/ 4 h 396"/>
                  <a:gd name="T34" fmla="*/ 52 w 77"/>
                  <a:gd name="T35" fmla="*/ 14 h 396"/>
                  <a:gd name="T36" fmla="*/ 52 w 77"/>
                  <a:gd name="T37" fmla="*/ 54 h 396"/>
                  <a:gd name="T38" fmla="*/ 50 w 77"/>
                  <a:gd name="T39" fmla="*/ 189 h 396"/>
                  <a:gd name="T40" fmla="*/ 50 w 77"/>
                  <a:gd name="T41" fmla="*/ 189 h 396"/>
                  <a:gd name="T42" fmla="*/ 56 w 77"/>
                  <a:gd name="T43" fmla="*/ 228 h 396"/>
                  <a:gd name="T44" fmla="*/ 77 w 77"/>
                  <a:gd name="T45" fmla="*/ 377 h 396"/>
                  <a:gd name="T46" fmla="*/ 77 w 77"/>
                  <a:gd name="T47" fmla="*/ 378 h 396"/>
                  <a:gd name="T48" fmla="*/ 76 w 77"/>
                  <a:gd name="T49" fmla="*/ 378 h 396"/>
                  <a:gd name="T50" fmla="*/ 20 w 77"/>
                  <a:gd name="T51" fmla="*/ 392 h 396"/>
                  <a:gd name="T52" fmla="*/ 5 w 77"/>
                  <a:gd name="T53" fmla="*/ 395 h 396"/>
                  <a:gd name="T54" fmla="*/ 1 w 77"/>
                  <a:gd name="T55" fmla="*/ 396 h 396"/>
                  <a:gd name="T56" fmla="*/ 0 w 77"/>
                  <a:gd name="T57" fmla="*/ 39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7" h="396">
                    <a:moveTo>
                      <a:pt x="0" y="396"/>
                    </a:moveTo>
                    <a:cubicBezTo>
                      <a:pt x="0" y="396"/>
                      <a:pt x="0" y="396"/>
                      <a:pt x="1" y="396"/>
                    </a:cubicBezTo>
                    <a:cubicBezTo>
                      <a:pt x="2" y="396"/>
                      <a:pt x="3" y="395"/>
                      <a:pt x="5" y="395"/>
                    </a:cubicBezTo>
                    <a:cubicBezTo>
                      <a:pt x="9" y="394"/>
                      <a:pt x="14" y="393"/>
                      <a:pt x="20" y="391"/>
                    </a:cubicBezTo>
                    <a:cubicBezTo>
                      <a:pt x="34" y="387"/>
                      <a:pt x="53" y="382"/>
                      <a:pt x="76" y="376"/>
                    </a:cubicBezTo>
                    <a:cubicBezTo>
                      <a:pt x="75" y="377"/>
                      <a:pt x="75" y="377"/>
                      <a:pt x="75" y="377"/>
                    </a:cubicBezTo>
                    <a:cubicBezTo>
                      <a:pt x="70" y="338"/>
                      <a:pt x="62" y="286"/>
                      <a:pt x="54" y="229"/>
                    </a:cubicBezTo>
                    <a:cubicBezTo>
                      <a:pt x="52" y="215"/>
                      <a:pt x="50" y="202"/>
                      <a:pt x="48" y="189"/>
                    </a:cubicBezTo>
                    <a:cubicBezTo>
                      <a:pt x="48" y="189"/>
                      <a:pt x="48" y="189"/>
                      <a:pt x="48" y="189"/>
                    </a:cubicBezTo>
                    <a:cubicBezTo>
                      <a:pt x="48" y="189"/>
                      <a:pt x="48" y="189"/>
                      <a:pt x="48" y="189"/>
                    </a:cubicBezTo>
                    <a:cubicBezTo>
                      <a:pt x="49" y="135"/>
                      <a:pt x="50" y="88"/>
                      <a:pt x="50" y="54"/>
                    </a:cubicBezTo>
                    <a:cubicBezTo>
                      <a:pt x="51" y="37"/>
                      <a:pt x="51" y="24"/>
                      <a:pt x="51" y="14"/>
                    </a:cubicBezTo>
                    <a:cubicBezTo>
                      <a:pt x="51" y="10"/>
                      <a:pt x="51" y="6"/>
                      <a:pt x="52" y="4"/>
                    </a:cubicBezTo>
                    <a:cubicBezTo>
                      <a:pt x="52" y="2"/>
                      <a:pt x="52" y="2"/>
                      <a:pt x="52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52" y="0"/>
                      <a:pt x="52" y="1"/>
                    </a:cubicBezTo>
                    <a:cubicBezTo>
                      <a:pt x="52" y="2"/>
                      <a:pt x="52" y="2"/>
                      <a:pt x="52" y="4"/>
                    </a:cubicBezTo>
                    <a:cubicBezTo>
                      <a:pt x="52" y="6"/>
                      <a:pt x="52" y="10"/>
                      <a:pt x="52" y="14"/>
                    </a:cubicBezTo>
                    <a:cubicBezTo>
                      <a:pt x="52" y="24"/>
                      <a:pt x="52" y="37"/>
                      <a:pt x="52" y="54"/>
                    </a:cubicBezTo>
                    <a:cubicBezTo>
                      <a:pt x="51" y="88"/>
                      <a:pt x="51" y="135"/>
                      <a:pt x="50" y="189"/>
                    </a:cubicBezTo>
                    <a:cubicBezTo>
                      <a:pt x="50" y="189"/>
                      <a:pt x="50" y="189"/>
                      <a:pt x="50" y="189"/>
                    </a:cubicBezTo>
                    <a:cubicBezTo>
                      <a:pt x="52" y="201"/>
                      <a:pt x="54" y="215"/>
                      <a:pt x="56" y="228"/>
                    </a:cubicBezTo>
                    <a:cubicBezTo>
                      <a:pt x="64" y="285"/>
                      <a:pt x="71" y="338"/>
                      <a:pt x="77" y="377"/>
                    </a:cubicBezTo>
                    <a:cubicBezTo>
                      <a:pt x="77" y="378"/>
                      <a:pt x="77" y="378"/>
                      <a:pt x="77" y="378"/>
                    </a:cubicBezTo>
                    <a:cubicBezTo>
                      <a:pt x="76" y="378"/>
                      <a:pt x="76" y="378"/>
                      <a:pt x="76" y="378"/>
                    </a:cubicBezTo>
                    <a:cubicBezTo>
                      <a:pt x="53" y="384"/>
                      <a:pt x="34" y="388"/>
                      <a:pt x="20" y="392"/>
                    </a:cubicBezTo>
                    <a:cubicBezTo>
                      <a:pt x="14" y="393"/>
                      <a:pt x="9" y="394"/>
                      <a:pt x="5" y="395"/>
                    </a:cubicBezTo>
                    <a:cubicBezTo>
                      <a:pt x="3" y="396"/>
                      <a:pt x="2" y="396"/>
                      <a:pt x="1" y="396"/>
                    </a:cubicBezTo>
                    <a:cubicBezTo>
                      <a:pt x="0" y="396"/>
                      <a:pt x="0" y="396"/>
                      <a:pt x="0" y="3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6" name="Freeform 168">
                <a:extLst>
                  <a:ext uri="{FF2B5EF4-FFF2-40B4-BE49-F238E27FC236}">
                    <a16:creationId xmlns:a16="http://schemas.microsoft.com/office/drawing/2014/main" id="{37FA9AB9-0EBF-C2E1-EA16-8281F652B8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" y="1248"/>
                <a:ext cx="586" cy="884"/>
              </a:xfrm>
              <a:custGeom>
                <a:avLst/>
                <a:gdLst>
                  <a:gd name="T0" fmla="*/ 129 w 356"/>
                  <a:gd name="T1" fmla="*/ 0 h 537"/>
                  <a:gd name="T2" fmla="*/ 23 w 356"/>
                  <a:gd name="T3" fmla="*/ 69 h 537"/>
                  <a:gd name="T4" fmla="*/ 67 w 356"/>
                  <a:gd name="T5" fmla="*/ 225 h 537"/>
                  <a:gd name="T6" fmla="*/ 77 w 356"/>
                  <a:gd name="T7" fmla="*/ 396 h 537"/>
                  <a:gd name="T8" fmla="*/ 72 w 356"/>
                  <a:gd name="T9" fmla="*/ 537 h 537"/>
                  <a:gd name="T10" fmla="*/ 356 w 356"/>
                  <a:gd name="T11" fmla="*/ 515 h 537"/>
                  <a:gd name="T12" fmla="*/ 334 w 356"/>
                  <a:gd name="T13" fmla="*/ 364 h 537"/>
                  <a:gd name="T14" fmla="*/ 313 w 356"/>
                  <a:gd name="T15" fmla="*/ 159 h 537"/>
                  <a:gd name="T16" fmla="*/ 282 w 356"/>
                  <a:gd name="T17" fmla="*/ 54 h 537"/>
                  <a:gd name="T18" fmla="*/ 238 w 356"/>
                  <a:gd name="T19" fmla="*/ 35 h 537"/>
                  <a:gd name="T20" fmla="*/ 129 w 356"/>
                  <a:gd name="T21" fmla="*/ 0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6" h="537">
                    <a:moveTo>
                      <a:pt x="129" y="0"/>
                    </a:moveTo>
                    <a:cubicBezTo>
                      <a:pt x="129" y="0"/>
                      <a:pt x="41" y="43"/>
                      <a:pt x="23" y="69"/>
                    </a:cubicBezTo>
                    <a:cubicBezTo>
                      <a:pt x="0" y="100"/>
                      <a:pt x="62" y="200"/>
                      <a:pt x="67" y="225"/>
                    </a:cubicBezTo>
                    <a:cubicBezTo>
                      <a:pt x="69" y="237"/>
                      <a:pt x="84" y="326"/>
                      <a:pt x="77" y="396"/>
                    </a:cubicBezTo>
                    <a:cubicBezTo>
                      <a:pt x="70" y="472"/>
                      <a:pt x="72" y="537"/>
                      <a:pt x="72" y="537"/>
                    </a:cubicBezTo>
                    <a:cubicBezTo>
                      <a:pt x="356" y="515"/>
                      <a:pt x="356" y="515"/>
                      <a:pt x="356" y="515"/>
                    </a:cubicBezTo>
                    <a:cubicBezTo>
                      <a:pt x="356" y="465"/>
                      <a:pt x="343" y="427"/>
                      <a:pt x="334" y="364"/>
                    </a:cubicBezTo>
                    <a:cubicBezTo>
                      <a:pt x="313" y="159"/>
                      <a:pt x="313" y="159"/>
                      <a:pt x="313" y="159"/>
                    </a:cubicBezTo>
                    <a:cubicBezTo>
                      <a:pt x="282" y="54"/>
                      <a:pt x="282" y="54"/>
                      <a:pt x="282" y="54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129" y="0"/>
                      <a:pt x="129" y="0"/>
                      <a:pt x="129" y="0"/>
                    </a:cubicBezTo>
                  </a:path>
                </a:pathLst>
              </a:custGeom>
              <a:solidFill>
                <a:srgbClr val="577E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7" name="Freeform 169">
                <a:extLst>
                  <a:ext uri="{FF2B5EF4-FFF2-40B4-BE49-F238E27FC236}">
                    <a16:creationId xmlns:a16="http://schemas.microsoft.com/office/drawing/2014/main" id="{17BA8888-8854-38DC-8CF7-DED41D190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9" y="1452"/>
                <a:ext cx="38" cy="357"/>
              </a:xfrm>
              <a:custGeom>
                <a:avLst/>
                <a:gdLst>
                  <a:gd name="T0" fmla="*/ 0 w 23"/>
                  <a:gd name="T1" fmla="*/ 0 h 217"/>
                  <a:gd name="T2" fmla="*/ 0 w 23"/>
                  <a:gd name="T3" fmla="*/ 2 h 217"/>
                  <a:gd name="T4" fmla="*/ 1 w 23"/>
                  <a:gd name="T5" fmla="*/ 9 h 217"/>
                  <a:gd name="T6" fmla="*/ 4 w 23"/>
                  <a:gd name="T7" fmla="*/ 32 h 217"/>
                  <a:gd name="T8" fmla="*/ 13 w 23"/>
                  <a:gd name="T9" fmla="*/ 108 h 217"/>
                  <a:gd name="T10" fmla="*/ 20 w 23"/>
                  <a:gd name="T11" fmla="*/ 185 h 217"/>
                  <a:gd name="T12" fmla="*/ 22 w 23"/>
                  <a:gd name="T13" fmla="*/ 208 h 217"/>
                  <a:gd name="T14" fmla="*/ 22 w 23"/>
                  <a:gd name="T15" fmla="*/ 214 h 217"/>
                  <a:gd name="T16" fmla="*/ 22 w 23"/>
                  <a:gd name="T17" fmla="*/ 217 h 217"/>
                  <a:gd name="T18" fmla="*/ 22 w 23"/>
                  <a:gd name="T19" fmla="*/ 214 h 217"/>
                  <a:gd name="T20" fmla="*/ 21 w 23"/>
                  <a:gd name="T21" fmla="*/ 208 h 217"/>
                  <a:gd name="T22" fmla="*/ 19 w 23"/>
                  <a:gd name="T23" fmla="*/ 185 h 217"/>
                  <a:gd name="T24" fmla="*/ 11 w 23"/>
                  <a:gd name="T25" fmla="*/ 108 h 217"/>
                  <a:gd name="T26" fmla="*/ 3 w 23"/>
                  <a:gd name="T27" fmla="*/ 32 h 217"/>
                  <a:gd name="T28" fmla="*/ 0 w 23"/>
                  <a:gd name="T29" fmla="*/ 9 h 217"/>
                  <a:gd name="T30" fmla="*/ 0 w 23"/>
                  <a:gd name="T31" fmla="*/ 3 h 217"/>
                  <a:gd name="T32" fmla="*/ 0 w 23"/>
                  <a:gd name="T33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17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1" y="4"/>
                      <a:pt x="1" y="6"/>
                      <a:pt x="1" y="9"/>
                    </a:cubicBezTo>
                    <a:cubicBezTo>
                      <a:pt x="2" y="14"/>
                      <a:pt x="3" y="22"/>
                      <a:pt x="4" y="32"/>
                    </a:cubicBezTo>
                    <a:cubicBezTo>
                      <a:pt x="7" y="51"/>
                      <a:pt x="10" y="78"/>
                      <a:pt x="13" y="108"/>
                    </a:cubicBezTo>
                    <a:cubicBezTo>
                      <a:pt x="17" y="138"/>
                      <a:pt x="19" y="165"/>
                      <a:pt x="20" y="185"/>
                    </a:cubicBezTo>
                    <a:cubicBezTo>
                      <a:pt x="21" y="195"/>
                      <a:pt x="22" y="203"/>
                      <a:pt x="22" y="208"/>
                    </a:cubicBezTo>
                    <a:cubicBezTo>
                      <a:pt x="22" y="211"/>
                      <a:pt x="22" y="213"/>
                      <a:pt x="22" y="214"/>
                    </a:cubicBezTo>
                    <a:cubicBezTo>
                      <a:pt x="23" y="216"/>
                      <a:pt x="23" y="217"/>
                      <a:pt x="22" y="217"/>
                    </a:cubicBezTo>
                    <a:cubicBezTo>
                      <a:pt x="22" y="217"/>
                      <a:pt x="22" y="216"/>
                      <a:pt x="22" y="214"/>
                    </a:cubicBezTo>
                    <a:cubicBezTo>
                      <a:pt x="22" y="213"/>
                      <a:pt x="22" y="211"/>
                      <a:pt x="21" y="208"/>
                    </a:cubicBezTo>
                    <a:cubicBezTo>
                      <a:pt x="21" y="202"/>
                      <a:pt x="20" y="194"/>
                      <a:pt x="19" y="185"/>
                    </a:cubicBezTo>
                    <a:cubicBezTo>
                      <a:pt x="17" y="165"/>
                      <a:pt x="14" y="138"/>
                      <a:pt x="11" y="108"/>
                    </a:cubicBezTo>
                    <a:cubicBezTo>
                      <a:pt x="8" y="79"/>
                      <a:pt x="5" y="52"/>
                      <a:pt x="3" y="32"/>
                    </a:cubicBezTo>
                    <a:cubicBezTo>
                      <a:pt x="2" y="22"/>
                      <a:pt x="1" y="15"/>
                      <a:pt x="0" y="9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8" name="Freeform 170">
                <a:extLst>
                  <a:ext uri="{FF2B5EF4-FFF2-40B4-BE49-F238E27FC236}">
                    <a16:creationId xmlns:a16="http://schemas.microsoft.com/office/drawing/2014/main" id="{188604DE-BA23-64FF-783C-B23163E654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1365"/>
                <a:ext cx="100" cy="121"/>
              </a:xfrm>
              <a:custGeom>
                <a:avLst/>
                <a:gdLst>
                  <a:gd name="T0" fmla="*/ 61 w 61"/>
                  <a:gd name="T1" fmla="*/ 74 h 74"/>
                  <a:gd name="T2" fmla="*/ 59 w 61"/>
                  <a:gd name="T3" fmla="*/ 59 h 74"/>
                  <a:gd name="T4" fmla="*/ 44 w 61"/>
                  <a:gd name="T5" fmla="*/ 27 h 74"/>
                  <a:gd name="T6" fmla="*/ 15 w 61"/>
                  <a:gd name="T7" fmla="*/ 5 h 74"/>
                  <a:gd name="T8" fmla="*/ 0 w 61"/>
                  <a:gd name="T9" fmla="*/ 0 h 74"/>
                  <a:gd name="T10" fmla="*/ 4 w 61"/>
                  <a:gd name="T11" fmla="*/ 1 h 74"/>
                  <a:gd name="T12" fmla="*/ 15 w 61"/>
                  <a:gd name="T13" fmla="*/ 4 h 74"/>
                  <a:gd name="T14" fmla="*/ 45 w 61"/>
                  <a:gd name="T15" fmla="*/ 25 h 74"/>
                  <a:gd name="T16" fmla="*/ 61 w 61"/>
                  <a:gd name="T17" fmla="*/ 59 h 74"/>
                  <a:gd name="T18" fmla="*/ 61 w 61"/>
                  <a:gd name="T19" fmla="*/ 70 h 74"/>
                  <a:gd name="T20" fmla="*/ 61 w 61"/>
                  <a:gd name="T2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74">
                    <a:moveTo>
                      <a:pt x="61" y="74"/>
                    </a:moveTo>
                    <a:cubicBezTo>
                      <a:pt x="61" y="74"/>
                      <a:pt x="61" y="68"/>
                      <a:pt x="59" y="59"/>
                    </a:cubicBezTo>
                    <a:cubicBezTo>
                      <a:pt x="57" y="50"/>
                      <a:pt x="53" y="38"/>
                      <a:pt x="44" y="27"/>
                    </a:cubicBezTo>
                    <a:cubicBezTo>
                      <a:pt x="35" y="16"/>
                      <a:pt x="23" y="9"/>
                      <a:pt x="15" y="5"/>
                    </a:cubicBezTo>
                    <a:cubicBezTo>
                      <a:pt x="6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4" y="1"/>
                    </a:cubicBezTo>
                    <a:cubicBezTo>
                      <a:pt x="7" y="1"/>
                      <a:pt x="11" y="2"/>
                      <a:pt x="15" y="4"/>
                    </a:cubicBezTo>
                    <a:cubicBezTo>
                      <a:pt x="24" y="7"/>
                      <a:pt x="36" y="14"/>
                      <a:pt x="45" y="25"/>
                    </a:cubicBezTo>
                    <a:cubicBezTo>
                      <a:pt x="55" y="37"/>
                      <a:pt x="59" y="49"/>
                      <a:pt x="61" y="59"/>
                    </a:cubicBezTo>
                    <a:cubicBezTo>
                      <a:pt x="61" y="64"/>
                      <a:pt x="61" y="67"/>
                      <a:pt x="61" y="70"/>
                    </a:cubicBezTo>
                    <a:cubicBezTo>
                      <a:pt x="61" y="73"/>
                      <a:pt x="61" y="74"/>
                      <a:pt x="61" y="7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9" name="Freeform 171">
                <a:extLst>
                  <a:ext uri="{FF2B5EF4-FFF2-40B4-BE49-F238E27FC236}">
                    <a16:creationId xmlns:a16="http://schemas.microsoft.com/office/drawing/2014/main" id="{F53F57B9-BAFE-2478-3340-164E06B1DF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0" y="1753"/>
                <a:ext cx="191" cy="127"/>
              </a:xfrm>
              <a:custGeom>
                <a:avLst/>
                <a:gdLst>
                  <a:gd name="T0" fmla="*/ 116 w 116"/>
                  <a:gd name="T1" fmla="*/ 77 h 77"/>
                  <a:gd name="T2" fmla="*/ 110 w 116"/>
                  <a:gd name="T3" fmla="*/ 76 h 77"/>
                  <a:gd name="T4" fmla="*/ 96 w 116"/>
                  <a:gd name="T5" fmla="*/ 72 h 77"/>
                  <a:gd name="T6" fmla="*/ 74 w 116"/>
                  <a:gd name="T7" fmla="*/ 64 h 77"/>
                  <a:gd name="T8" fmla="*/ 50 w 116"/>
                  <a:gd name="T9" fmla="*/ 51 h 77"/>
                  <a:gd name="T10" fmla="*/ 28 w 116"/>
                  <a:gd name="T11" fmla="*/ 34 h 77"/>
                  <a:gd name="T12" fmla="*/ 12 w 116"/>
                  <a:gd name="T13" fmla="*/ 18 h 77"/>
                  <a:gd name="T14" fmla="*/ 3 w 116"/>
                  <a:gd name="T15" fmla="*/ 5 h 77"/>
                  <a:gd name="T16" fmla="*/ 0 w 116"/>
                  <a:gd name="T17" fmla="*/ 1 h 77"/>
                  <a:gd name="T18" fmla="*/ 13 w 116"/>
                  <a:gd name="T19" fmla="*/ 17 h 77"/>
                  <a:gd name="T20" fmla="*/ 29 w 116"/>
                  <a:gd name="T21" fmla="*/ 32 h 77"/>
                  <a:gd name="T22" fmla="*/ 51 w 116"/>
                  <a:gd name="T23" fmla="*/ 49 h 77"/>
                  <a:gd name="T24" fmla="*/ 75 w 116"/>
                  <a:gd name="T25" fmla="*/ 62 h 77"/>
                  <a:gd name="T26" fmla="*/ 96 w 116"/>
                  <a:gd name="T27" fmla="*/ 71 h 77"/>
                  <a:gd name="T28" fmla="*/ 116 w 116"/>
                  <a:gd name="T29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6" h="77">
                    <a:moveTo>
                      <a:pt x="116" y="77"/>
                    </a:moveTo>
                    <a:cubicBezTo>
                      <a:pt x="116" y="77"/>
                      <a:pt x="114" y="77"/>
                      <a:pt x="110" y="76"/>
                    </a:cubicBezTo>
                    <a:cubicBezTo>
                      <a:pt x="107" y="75"/>
                      <a:pt x="102" y="74"/>
                      <a:pt x="96" y="72"/>
                    </a:cubicBezTo>
                    <a:cubicBezTo>
                      <a:pt x="89" y="70"/>
                      <a:pt x="82" y="68"/>
                      <a:pt x="74" y="64"/>
                    </a:cubicBezTo>
                    <a:cubicBezTo>
                      <a:pt x="67" y="61"/>
                      <a:pt x="58" y="56"/>
                      <a:pt x="50" y="51"/>
                    </a:cubicBezTo>
                    <a:cubicBezTo>
                      <a:pt x="42" y="45"/>
                      <a:pt x="34" y="40"/>
                      <a:pt x="28" y="34"/>
                    </a:cubicBezTo>
                    <a:cubicBezTo>
                      <a:pt x="22" y="28"/>
                      <a:pt x="16" y="23"/>
                      <a:pt x="12" y="18"/>
                    </a:cubicBezTo>
                    <a:cubicBezTo>
                      <a:pt x="8" y="13"/>
                      <a:pt x="5" y="8"/>
                      <a:pt x="3" y="5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5" y="7"/>
                      <a:pt x="13" y="17"/>
                    </a:cubicBezTo>
                    <a:cubicBezTo>
                      <a:pt x="18" y="21"/>
                      <a:pt x="23" y="27"/>
                      <a:pt x="29" y="32"/>
                    </a:cubicBezTo>
                    <a:cubicBezTo>
                      <a:pt x="36" y="38"/>
                      <a:pt x="43" y="44"/>
                      <a:pt x="51" y="49"/>
                    </a:cubicBezTo>
                    <a:cubicBezTo>
                      <a:pt x="59" y="54"/>
                      <a:pt x="68" y="59"/>
                      <a:pt x="75" y="62"/>
                    </a:cubicBezTo>
                    <a:cubicBezTo>
                      <a:pt x="83" y="66"/>
                      <a:pt x="90" y="69"/>
                      <a:pt x="96" y="71"/>
                    </a:cubicBezTo>
                    <a:cubicBezTo>
                      <a:pt x="108" y="75"/>
                      <a:pt x="116" y="76"/>
                      <a:pt x="116" y="7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0" name="Freeform 172">
                <a:extLst>
                  <a:ext uri="{FF2B5EF4-FFF2-40B4-BE49-F238E27FC236}">
                    <a16:creationId xmlns:a16="http://schemas.microsoft.com/office/drawing/2014/main" id="{A8E11CAC-4E59-3051-5909-920DCED62E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7" y="1687"/>
                <a:ext cx="14" cy="231"/>
              </a:xfrm>
              <a:custGeom>
                <a:avLst/>
                <a:gdLst>
                  <a:gd name="T0" fmla="*/ 3 w 8"/>
                  <a:gd name="T1" fmla="*/ 0 h 140"/>
                  <a:gd name="T2" fmla="*/ 6 w 8"/>
                  <a:gd name="T3" fmla="*/ 140 h 140"/>
                  <a:gd name="T4" fmla="*/ 7 w 8"/>
                  <a:gd name="T5" fmla="*/ 129 h 140"/>
                  <a:gd name="T6" fmla="*/ 8 w 8"/>
                  <a:gd name="T7" fmla="*/ 122 h 140"/>
                  <a:gd name="T8" fmla="*/ 7 w 8"/>
                  <a:gd name="T9" fmla="*/ 117 h 140"/>
                  <a:gd name="T10" fmla="*/ 7 w 8"/>
                  <a:gd name="T11" fmla="*/ 117 h 140"/>
                  <a:gd name="T12" fmla="*/ 7 w 8"/>
                  <a:gd name="T13" fmla="*/ 117 h 140"/>
                  <a:gd name="T14" fmla="*/ 8 w 8"/>
                  <a:gd name="T15" fmla="*/ 56 h 140"/>
                  <a:gd name="T16" fmla="*/ 3 w 8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40">
                    <a:moveTo>
                      <a:pt x="3" y="0"/>
                    </a:moveTo>
                    <a:cubicBezTo>
                      <a:pt x="0" y="47"/>
                      <a:pt x="1" y="94"/>
                      <a:pt x="6" y="140"/>
                    </a:cubicBezTo>
                    <a:cubicBezTo>
                      <a:pt x="6" y="137"/>
                      <a:pt x="7" y="133"/>
                      <a:pt x="7" y="129"/>
                    </a:cubicBezTo>
                    <a:cubicBezTo>
                      <a:pt x="7" y="127"/>
                      <a:pt x="7" y="125"/>
                      <a:pt x="8" y="122"/>
                    </a:cubicBezTo>
                    <a:cubicBezTo>
                      <a:pt x="7" y="120"/>
                      <a:pt x="7" y="119"/>
                      <a:pt x="7" y="117"/>
                    </a:cubicBezTo>
                    <a:cubicBezTo>
                      <a:pt x="7" y="117"/>
                      <a:pt x="7" y="117"/>
                      <a:pt x="7" y="117"/>
                    </a:cubicBezTo>
                    <a:cubicBezTo>
                      <a:pt x="7" y="117"/>
                      <a:pt x="7" y="117"/>
                      <a:pt x="7" y="117"/>
                    </a:cubicBezTo>
                    <a:cubicBezTo>
                      <a:pt x="7" y="95"/>
                      <a:pt x="8" y="75"/>
                      <a:pt x="8" y="56"/>
                    </a:cubicBezTo>
                    <a:cubicBezTo>
                      <a:pt x="7" y="36"/>
                      <a:pt x="5" y="16"/>
                      <a:pt x="3" y="0"/>
                    </a:cubicBezTo>
                  </a:path>
                </a:pathLst>
              </a:custGeom>
              <a:solidFill>
                <a:srgbClr val="1A4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1" name="Freeform 173">
                <a:extLst>
                  <a:ext uri="{FF2B5EF4-FFF2-40B4-BE49-F238E27FC236}">
                    <a16:creationId xmlns:a16="http://schemas.microsoft.com/office/drawing/2014/main" id="{821646AC-ECD1-06F0-EA3C-AE9EBB919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1780"/>
                <a:ext cx="3" cy="108"/>
              </a:xfrm>
              <a:custGeom>
                <a:avLst/>
                <a:gdLst>
                  <a:gd name="T0" fmla="*/ 1 w 2"/>
                  <a:gd name="T1" fmla="*/ 0 h 66"/>
                  <a:gd name="T2" fmla="*/ 0 w 2"/>
                  <a:gd name="T3" fmla="*/ 61 h 66"/>
                  <a:gd name="T4" fmla="*/ 0 w 2"/>
                  <a:gd name="T5" fmla="*/ 61 h 66"/>
                  <a:gd name="T6" fmla="*/ 0 w 2"/>
                  <a:gd name="T7" fmla="*/ 61 h 66"/>
                  <a:gd name="T8" fmla="*/ 1 w 2"/>
                  <a:gd name="T9" fmla="*/ 66 h 66"/>
                  <a:gd name="T10" fmla="*/ 1 w 2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66">
                    <a:moveTo>
                      <a:pt x="1" y="0"/>
                    </a:moveTo>
                    <a:cubicBezTo>
                      <a:pt x="1" y="19"/>
                      <a:pt x="0" y="39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3"/>
                      <a:pt x="0" y="64"/>
                      <a:pt x="1" y="66"/>
                    </a:cubicBezTo>
                    <a:cubicBezTo>
                      <a:pt x="2" y="45"/>
                      <a:pt x="2" y="22"/>
                      <a:pt x="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2" name="Freeform 174">
                <a:extLst>
                  <a:ext uri="{FF2B5EF4-FFF2-40B4-BE49-F238E27FC236}">
                    <a16:creationId xmlns:a16="http://schemas.microsoft.com/office/drawing/2014/main" id="{0DD4F659-21AB-EFDF-8B5E-497359C7D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2129"/>
                <a:ext cx="3" cy="0"/>
              </a:xfrm>
              <a:custGeom>
                <a:avLst/>
                <a:gdLst>
                  <a:gd name="T0" fmla="*/ 3 w 3"/>
                  <a:gd name="T1" fmla="*/ 0 w 3"/>
                  <a:gd name="T2" fmla="*/ 3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3" name="Freeform 175">
                <a:extLst>
                  <a:ext uri="{FF2B5EF4-FFF2-40B4-BE49-F238E27FC236}">
                    <a16:creationId xmlns:a16="http://schemas.microsoft.com/office/drawing/2014/main" id="{79203541-CEBF-D754-BD00-0BB027F0F6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2129"/>
                <a:ext cx="3" cy="0"/>
              </a:xfrm>
              <a:custGeom>
                <a:avLst/>
                <a:gdLst>
                  <a:gd name="T0" fmla="*/ 3 w 3"/>
                  <a:gd name="T1" fmla="*/ 0 w 3"/>
                  <a:gd name="T2" fmla="*/ 3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4" name="Freeform 176">
                <a:extLst>
                  <a:ext uri="{FF2B5EF4-FFF2-40B4-BE49-F238E27FC236}">
                    <a16:creationId xmlns:a16="http://schemas.microsoft.com/office/drawing/2014/main" id="{ADB027A1-F8C8-2D39-2B5E-B97494598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585"/>
                <a:ext cx="66" cy="544"/>
              </a:xfrm>
              <a:custGeom>
                <a:avLst/>
                <a:gdLst>
                  <a:gd name="T0" fmla="*/ 8 w 40"/>
                  <a:gd name="T1" fmla="*/ 0 h 330"/>
                  <a:gd name="T2" fmla="*/ 0 w 40"/>
                  <a:gd name="T3" fmla="*/ 62 h 330"/>
                  <a:gd name="T4" fmla="*/ 5 w 40"/>
                  <a:gd name="T5" fmla="*/ 118 h 330"/>
                  <a:gd name="T6" fmla="*/ 5 w 40"/>
                  <a:gd name="T7" fmla="*/ 184 h 330"/>
                  <a:gd name="T8" fmla="*/ 4 w 40"/>
                  <a:gd name="T9" fmla="*/ 191 h 330"/>
                  <a:gd name="T10" fmla="*/ 3 w 40"/>
                  <a:gd name="T11" fmla="*/ 202 h 330"/>
                  <a:gd name="T12" fmla="*/ 27 w 40"/>
                  <a:gd name="T13" fmla="*/ 330 h 330"/>
                  <a:gd name="T14" fmla="*/ 32 w 40"/>
                  <a:gd name="T15" fmla="*/ 330 h 330"/>
                  <a:gd name="T16" fmla="*/ 34 w 40"/>
                  <a:gd name="T17" fmla="*/ 330 h 330"/>
                  <a:gd name="T18" fmla="*/ 8 w 40"/>
                  <a:gd name="T1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330">
                    <a:moveTo>
                      <a:pt x="8" y="0"/>
                    </a:moveTo>
                    <a:cubicBezTo>
                      <a:pt x="4" y="20"/>
                      <a:pt x="2" y="41"/>
                      <a:pt x="0" y="62"/>
                    </a:cubicBezTo>
                    <a:cubicBezTo>
                      <a:pt x="2" y="78"/>
                      <a:pt x="4" y="98"/>
                      <a:pt x="5" y="118"/>
                    </a:cubicBezTo>
                    <a:cubicBezTo>
                      <a:pt x="6" y="140"/>
                      <a:pt x="6" y="163"/>
                      <a:pt x="5" y="184"/>
                    </a:cubicBezTo>
                    <a:cubicBezTo>
                      <a:pt x="4" y="187"/>
                      <a:pt x="4" y="189"/>
                      <a:pt x="4" y="191"/>
                    </a:cubicBezTo>
                    <a:cubicBezTo>
                      <a:pt x="4" y="195"/>
                      <a:pt x="3" y="199"/>
                      <a:pt x="3" y="202"/>
                    </a:cubicBezTo>
                    <a:cubicBezTo>
                      <a:pt x="8" y="246"/>
                      <a:pt x="16" y="289"/>
                      <a:pt x="27" y="330"/>
                    </a:cubicBezTo>
                    <a:cubicBezTo>
                      <a:pt x="32" y="330"/>
                      <a:pt x="32" y="330"/>
                      <a:pt x="32" y="330"/>
                    </a:cubicBezTo>
                    <a:cubicBezTo>
                      <a:pt x="34" y="330"/>
                      <a:pt x="34" y="330"/>
                      <a:pt x="34" y="330"/>
                    </a:cubicBezTo>
                    <a:cubicBezTo>
                      <a:pt x="40" y="219"/>
                      <a:pt x="29" y="108"/>
                      <a:pt x="8" y="0"/>
                    </a:cubicBezTo>
                  </a:path>
                </a:pathLst>
              </a:custGeom>
              <a:solidFill>
                <a:srgbClr val="1A4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5" name="Freeform 177">
                <a:extLst>
                  <a:ext uri="{FF2B5EF4-FFF2-40B4-BE49-F238E27FC236}">
                    <a16:creationId xmlns:a16="http://schemas.microsoft.com/office/drawing/2014/main" id="{CD028EEA-29E2-E6CA-C95A-AB9AB8743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3" y="1892"/>
                <a:ext cx="155" cy="47"/>
              </a:xfrm>
              <a:custGeom>
                <a:avLst/>
                <a:gdLst>
                  <a:gd name="T0" fmla="*/ 0 w 94"/>
                  <a:gd name="T1" fmla="*/ 0 h 29"/>
                  <a:gd name="T2" fmla="*/ 45 w 94"/>
                  <a:gd name="T3" fmla="*/ 26 h 29"/>
                  <a:gd name="T4" fmla="*/ 65 w 94"/>
                  <a:gd name="T5" fmla="*/ 29 h 29"/>
                  <a:gd name="T6" fmla="*/ 71 w 94"/>
                  <a:gd name="T7" fmla="*/ 28 h 29"/>
                  <a:gd name="T8" fmla="*/ 94 w 94"/>
                  <a:gd name="T9" fmla="*/ 19 h 29"/>
                  <a:gd name="T10" fmla="*/ 0 w 94"/>
                  <a:gd name="T1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29">
                    <a:moveTo>
                      <a:pt x="0" y="0"/>
                    </a:moveTo>
                    <a:cubicBezTo>
                      <a:pt x="10" y="13"/>
                      <a:pt x="29" y="21"/>
                      <a:pt x="45" y="26"/>
                    </a:cubicBezTo>
                    <a:cubicBezTo>
                      <a:pt x="52" y="28"/>
                      <a:pt x="58" y="29"/>
                      <a:pt x="65" y="29"/>
                    </a:cubicBezTo>
                    <a:cubicBezTo>
                      <a:pt x="67" y="29"/>
                      <a:pt x="69" y="28"/>
                      <a:pt x="71" y="28"/>
                    </a:cubicBezTo>
                    <a:cubicBezTo>
                      <a:pt x="80" y="28"/>
                      <a:pt x="89" y="26"/>
                      <a:pt x="94" y="19"/>
                    </a:cubicBezTo>
                    <a:cubicBezTo>
                      <a:pt x="62" y="18"/>
                      <a:pt x="30" y="12"/>
                      <a:pt x="0" y="0"/>
                    </a:cubicBezTo>
                  </a:path>
                </a:pathLst>
              </a:custGeom>
              <a:solidFill>
                <a:srgbClr val="1A4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6" name="Freeform 178">
                <a:extLst>
                  <a:ext uri="{FF2B5EF4-FFF2-40B4-BE49-F238E27FC236}">
                    <a16:creationId xmlns:a16="http://schemas.microsoft.com/office/drawing/2014/main" id="{C98FEA30-BB4D-9906-AAEB-4503EDB761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" y="1249"/>
                <a:ext cx="196" cy="61"/>
              </a:xfrm>
              <a:custGeom>
                <a:avLst/>
                <a:gdLst>
                  <a:gd name="T0" fmla="*/ 119 w 119"/>
                  <a:gd name="T1" fmla="*/ 36 h 37"/>
                  <a:gd name="T2" fmla="*/ 114 w 119"/>
                  <a:gd name="T3" fmla="*/ 37 h 37"/>
                  <a:gd name="T4" fmla="*/ 100 w 119"/>
                  <a:gd name="T5" fmla="*/ 37 h 37"/>
                  <a:gd name="T6" fmla="*/ 57 w 119"/>
                  <a:gd name="T7" fmla="*/ 26 h 37"/>
                  <a:gd name="T8" fmla="*/ 15 w 119"/>
                  <a:gd name="T9" fmla="*/ 10 h 37"/>
                  <a:gd name="T10" fmla="*/ 4 w 119"/>
                  <a:gd name="T11" fmla="*/ 3 h 37"/>
                  <a:gd name="T12" fmla="*/ 1 w 119"/>
                  <a:gd name="T13" fmla="*/ 1 h 37"/>
                  <a:gd name="T14" fmla="*/ 0 w 119"/>
                  <a:gd name="T15" fmla="*/ 0 h 37"/>
                  <a:gd name="T16" fmla="*/ 4 w 119"/>
                  <a:gd name="T17" fmla="*/ 2 h 37"/>
                  <a:gd name="T18" fmla="*/ 16 w 119"/>
                  <a:gd name="T19" fmla="*/ 9 h 37"/>
                  <a:gd name="T20" fmla="*/ 58 w 119"/>
                  <a:gd name="T21" fmla="*/ 24 h 37"/>
                  <a:gd name="T22" fmla="*/ 100 w 119"/>
                  <a:gd name="T23" fmla="*/ 35 h 37"/>
                  <a:gd name="T24" fmla="*/ 115 w 119"/>
                  <a:gd name="T25" fmla="*/ 36 h 37"/>
                  <a:gd name="T26" fmla="*/ 119 w 119"/>
                  <a:gd name="T27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37">
                    <a:moveTo>
                      <a:pt x="119" y="36"/>
                    </a:moveTo>
                    <a:cubicBezTo>
                      <a:pt x="119" y="36"/>
                      <a:pt x="117" y="36"/>
                      <a:pt x="114" y="37"/>
                    </a:cubicBezTo>
                    <a:cubicBezTo>
                      <a:pt x="110" y="37"/>
                      <a:pt x="106" y="37"/>
                      <a:pt x="100" y="37"/>
                    </a:cubicBezTo>
                    <a:cubicBezTo>
                      <a:pt x="89" y="36"/>
                      <a:pt x="73" y="32"/>
                      <a:pt x="57" y="26"/>
                    </a:cubicBezTo>
                    <a:cubicBezTo>
                      <a:pt x="41" y="20"/>
                      <a:pt x="26" y="15"/>
                      <a:pt x="15" y="10"/>
                    </a:cubicBezTo>
                    <a:cubicBezTo>
                      <a:pt x="10" y="8"/>
                      <a:pt x="6" y="5"/>
                      <a:pt x="4" y="3"/>
                    </a:cubicBezTo>
                    <a:cubicBezTo>
                      <a:pt x="2" y="2"/>
                      <a:pt x="2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2" y="1"/>
                      <a:pt x="4" y="2"/>
                    </a:cubicBezTo>
                    <a:cubicBezTo>
                      <a:pt x="7" y="4"/>
                      <a:pt x="11" y="6"/>
                      <a:pt x="16" y="9"/>
                    </a:cubicBezTo>
                    <a:cubicBezTo>
                      <a:pt x="26" y="13"/>
                      <a:pt x="41" y="18"/>
                      <a:pt x="58" y="24"/>
                    </a:cubicBezTo>
                    <a:cubicBezTo>
                      <a:pt x="74" y="30"/>
                      <a:pt x="89" y="34"/>
                      <a:pt x="100" y="35"/>
                    </a:cubicBezTo>
                    <a:cubicBezTo>
                      <a:pt x="107" y="36"/>
                      <a:pt x="112" y="36"/>
                      <a:pt x="115" y="36"/>
                    </a:cubicBezTo>
                    <a:cubicBezTo>
                      <a:pt x="117" y="36"/>
                      <a:pt x="119" y="36"/>
                      <a:pt x="119" y="3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7" name="Freeform 179">
                <a:extLst>
                  <a:ext uri="{FF2B5EF4-FFF2-40B4-BE49-F238E27FC236}">
                    <a16:creationId xmlns:a16="http://schemas.microsoft.com/office/drawing/2014/main" id="{9F940296-BD35-0CAA-500F-E7954C4CE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" y="1210"/>
                <a:ext cx="5" cy="54"/>
              </a:xfrm>
              <a:custGeom>
                <a:avLst/>
                <a:gdLst>
                  <a:gd name="T0" fmla="*/ 2 w 3"/>
                  <a:gd name="T1" fmla="*/ 0 h 33"/>
                  <a:gd name="T2" fmla="*/ 2 w 3"/>
                  <a:gd name="T3" fmla="*/ 17 h 33"/>
                  <a:gd name="T4" fmla="*/ 2 w 3"/>
                  <a:gd name="T5" fmla="*/ 33 h 33"/>
                  <a:gd name="T6" fmla="*/ 0 w 3"/>
                  <a:gd name="T7" fmla="*/ 17 h 33"/>
                  <a:gd name="T8" fmla="*/ 2 w 3"/>
                  <a:gd name="T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3">
                    <a:moveTo>
                      <a:pt x="2" y="0"/>
                    </a:moveTo>
                    <a:cubicBezTo>
                      <a:pt x="3" y="0"/>
                      <a:pt x="3" y="7"/>
                      <a:pt x="2" y="17"/>
                    </a:cubicBezTo>
                    <a:cubicBezTo>
                      <a:pt x="2" y="26"/>
                      <a:pt x="2" y="33"/>
                      <a:pt x="2" y="33"/>
                    </a:cubicBezTo>
                    <a:cubicBezTo>
                      <a:pt x="1" y="33"/>
                      <a:pt x="0" y="26"/>
                      <a:pt x="0" y="17"/>
                    </a:cubicBezTo>
                    <a:cubicBezTo>
                      <a:pt x="1" y="7"/>
                      <a:pt x="2" y="0"/>
                      <a:pt x="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8" name="Freeform 180">
                <a:extLst>
                  <a:ext uri="{FF2B5EF4-FFF2-40B4-BE49-F238E27FC236}">
                    <a16:creationId xmlns:a16="http://schemas.microsoft.com/office/drawing/2014/main" id="{A53BB031-F437-A92E-75F3-C227265A5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0" y="1225"/>
                <a:ext cx="5" cy="65"/>
              </a:xfrm>
              <a:custGeom>
                <a:avLst/>
                <a:gdLst>
                  <a:gd name="T0" fmla="*/ 1 w 3"/>
                  <a:gd name="T1" fmla="*/ 0 h 40"/>
                  <a:gd name="T2" fmla="*/ 2 w 3"/>
                  <a:gd name="T3" fmla="*/ 20 h 40"/>
                  <a:gd name="T4" fmla="*/ 3 w 3"/>
                  <a:gd name="T5" fmla="*/ 40 h 40"/>
                  <a:gd name="T6" fmla="*/ 0 w 3"/>
                  <a:gd name="T7" fmla="*/ 20 h 40"/>
                  <a:gd name="T8" fmla="*/ 1 w 3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0">
                    <a:moveTo>
                      <a:pt x="1" y="0"/>
                    </a:moveTo>
                    <a:cubicBezTo>
                      <a:pt x="2" y="0"/>
                      <a:pt x="2" y="9"/>
                      <a:pt x="2" y="20"/>
                    </a:cubicBezTo>
                    <a:cubicBezTo>
                      <a:pt x="3" y="31"/>
                      <a:pt x="3" y="40"/>
                      <a:pt x="3" y="40"/>
                    </a:cubicBezTo>
                    <a:cubicBezTo>
                      <a:pt x="2" y="40"/>
                      <a:pt x="1" y="31"/>
                      <a:pt x="0" y="20"/>
                    </a:cubicBezTo>
                    <a:cubicBezTo>
                      <a:pt x="0" y="9"/>
                      <a:pt x="1" y="0"/>
                      <a:pt x="1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9" name="Freeform 181">
                <a:extLst>
                  <a:ext uri="{FF2B5EF4-FFF2-40B4-BE49-F238E27FC236}">
                    <a16:creationId xmlns:a16="http://schemas.microsoft.com/office/drawing/2014/main" id="{6B266F8C-3C3E-A5C6-CBC0-188CD55F7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" y="1246"/>
                <a:ext cx="7" cy="64"/>
              </a:xfrm>
              <a:custGeom>
                <a:avLst/>
                <a:gdLst>
                  <a:gd name="T0" fmla="*/ 2 w 4"/>
                  <a:gd name="T1" fmla="*/ 0 h 39"/>
                  <a:gd name="T2" fmla="*/ 3 w 4"/>
                  <a:gd name="T3" fmla="*/ 19 h 39"/>
                  <a:gd name="T4" fmla="*/ 1 w 4"/>
                  <a:gd name="T5" fmla="*/ 39 h 39"/>
                  <a:gd name="T6" fmla="*/ 1 w 4"/>
                  <a:gd name="T7" fmla="*/ 19 h 39"/>
                  <a:gd name="T8" fmla="*/ 2 w 4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9">
                    <a:moveTo>
                      <a:pt x="2" y="0"/>
                    </a:moveTo>
                    <a:cubicBezTo>
                      <a:pt x="2" y="0"/>
                      <a:pt x="4" y="8"/>
                      <a:pt x="3" y="19"/>
                    </a:cubicBezTo>
                    <a:cubicBezTo>
                      <a:pt x="3" y="30"/>
                      <a:pt x="2" y="39"/>
                      <a:pt x="1" y="39"/>
                    </a:cubicBezTo>
                    <a:cubicBezTo>
                      <a:pt x="0" y="38"/>
                      <a:pt x="1" y="30"/>
                      <a:pt x="1" y="19"/>
                    </a:cubicBezTo>
                    <a:cubicBezTo>
                      <a:pt x="1" y="8"/>
                      <a:pt x="1" y="0"/>
                      <a:pt x="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0" name="Freeform 182">
                <a:extLst>
                  <a:ext uri="{FF2B5EF4-FFF2-40B4-BE49-F238E27FC236}">
                    <a16:creationId xmlns:a16="http://schemas.microsoft.com/office/drawing/2014/main" id="{789A16A2-0821-2EAD-1458-B978E5C821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5" y="1254"/>
                <a:ext cx="174" cy="61"/>
              </a:xfrm>
              <a:custGeom>
                <a:avLst/>
                <a:gdLst>
                  <a:gd name="T0" fmla="*/ 55 w 106"/>
                  <a:gd name="T1" fmla="*/ 21 h 37"/>
                  <a:gd name="T2" fmla="*/ 55 w 106"/>
                  <a:gd name="T3" fmla="*/ 22 h 37"/>
                  <a:gd name="T4" fmla="*/ 95 w 106"/>
                  <a:gd name="T5" fmla="*/ 32 h 37"/>
                  <a:gd name="T6" fmla="*/ 98 w 106"/>
                  <a:gd name="T7" fmla="*/ 33 h 37"/>
                  <a:gd name="T8" fmla="*/ 55 w 106"/>
                  <a:gd name="T9" fmla="*/ 21 h 37"/>
                  <a:gd name="T10" fmla="*/ 11 w 106"/>
                  <a:gd name="T11" fmla="*/ 4 h 37"/>
                  <a:gd name="T12" fmla="*/ 11 w 106"/>
                  <a:gd name="T13" fmla="*/ 6 h 37"/>
                  <a:gd name="T14" fmla="*/ 11 w 106"/>
                  <a:gd name="T15" fmla="*/ 6 h 37"/>
                  <a:gd name="T16" fmla="*/ 53 w 106"/>
                  <a:gd name="T17" fmla="*/ 21 h 37"/>
                  <a:gd name="T18" fmla="*/ 54 w 106"/>
                  <a:gd name="T19" fmla="*/ 21 h 37"/>
                  <a:gd name="T20" fmla="*/ 54 w 106"/>
                  <a:gd name="T21" fmla="*/ 21 h 37"/>
                  <a:gd name="T22" fmla="*/ 53 w 106"/>
                  <a:gd name="T23" fmla="*/ 21 h 37"/>
                  <a:gd name="T24" fmla="*/ 11 w 106"/>
                  <a:gd name="T25" fmla="*/ 4 h 37"/>
                  <a:gd name="T26" fmla="*/ 1 w 106"/>
                  <a:gd name="T27" fmla="*/ 2 h 37"/>
                  <a:gd name="T28" fmla="*/ 25 w 106"/>
                  <a:gd name="T29" fmla="*/ 18 h 37"/>
                  <a:gd name="T30" fmla="*/ 65 w 106"/>
                  <a:gd name="T31" fmla="*/ 34 h 37"/>
                  <a:gd name="T32" fmla="*/ 86 w 106"/>
                  <a:gd name="T33" fmla="*/ 37 h 37"/>
                  <a:gd name="T34" fmla="*/ 106 w 106"/>
                  <a:gd name="T35" fmla="*/ 34 h 37"/>
                  <a:gd name="T36" fmla="*/ 102 w 106"/>
                  <a:gd name="T37" fmla="*/ 34 h 37"/>
                  <a:gd name="T38" fmla="*/ 95 w 106"/>
                  <a:gd name="T39" fmla="*/ 34 h 37"/>
                  <a:gd name="T40" fmla="*/ 52 w 106"/>
                  <a:gd name="T41" fmla="*/ 23 h 37"/>
                  <a:gd name="T42" fmla="*/ 10 w 106"/>
                  <a:gd name="T43" fmla="*/ 7 h 37"/>
                  <a:gd name="T44" fmla="*/ 1 w 106"/>
                  <a:gd name="T45" fmla="*/ 2 h 37"/>
                  <a:gd name="T46" fmla="*/ 0 w 106"/>
                  <a:gd name="T47" fmla="*/ 0 h 37"/>
                  <a:gd name="T48" fmla="*/ 0 w 106"/>
                  <a:gd name="T49" fmla="*/ 0 h 37"/>
                  <a:gd name="T50" fmla="*/ 10 w 106"/>
                  <a:gd name="T51" fmla="*/ 5 h 37"/>
                  <a:gd name="T52" fmla="*/ 10 w 106"/>
                  <a:gd name="T53" fmla="*/ 4 h 37"/>
                  <a:gd name="T54" fmla="*/ 0 w 106"/>
                  <a:gd name="T55" fmla="*/ 0 h 37"/>
                  <a:gd name="T56" fmla="*/ 0 w 106"/>
                  <a:gd name="T5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6" h="37">
                    <a:moveTo>
                      <a:pt x="55" y="21"/>
                    </a:moveTo>
                    <a:cubicBezTo>
                      <a:pt x="55" y="21"/>
                      <a:pt x="55" y="21"/>
                      <a:pt x="55" y="22"/>
                    </a:cubicBezTo>
                    <a:cubicBezTo>
                      <a:pt x="70" y="27"/>
                      <a:pt x="84" y="31"/>
                      <a:pt x="95" y="32"/>
                    </a:cubicBezTo>
                    <a:cubicBezTo>
                      <a:pt x="96" y="32"/>
                      <a:pt x="97" y="33"/>
                      <a:pt x="98" y="33"/>
                    </a:cubicBezTo>
                    <a:cubicBezTo>
                      <a:pt x="83" y="31"/>
                      <a:pt x="69" y="27"/>
                      <a:pt x="55" y="21"/>
                    </a:cubicBezTo>
                    <a:moveTo>
                      <a:pt x="11" y="4"/>
                    </a:moveTo>
                    <a:cubicBezTo>
                      <a:pt x="11" y="5"/>
                      <a:pt x="11" y="5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21" y="10"/>
                      <a:pt x="36" y="15"/>
                      <a:pt x="53" y="21"/>
                    </a:cubicBezTo>
                    <a:cubicBezTo>
                      <a:pt x="53" y="21"/>
                      <a:pt x="54" y="21"/>
                      <a:pt x="54" y="21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54" y="21"/>
                      <a:pt x="54" y="21"/>
                      <a:pt x="53" y="21"/>
                    </a:cubicBezTo>
                    <a:cubicBezTo>
                      <a:pt x="40" y="16"/>
                      <a:pt x="25" y="10"/>
                      <a:pt x="11" y="4"/>
                    </a:cubicBezTo>
                    <a:moveTo>
                      <a:pt x="1" y="2"/>
                    </a:moveTo>
                    <a:cubicBezTo>
                      <a:pt x="7" y="10"/>
                      <a:pt x="16" y="14"/>
                      <a:pt x="25" y="18"/>
                    </a:cubicBezTo>
                    <a:cubicBezTo>
                      <a:pt x="38" y="25"/>
                      <a:pt x="51" y="31"/>
                      <a:pt x="65" y="34"/>
                    </a:cubicBezTo>
                    <a:cubicBezTo>
                      <a:pt x="72" y="36"/>
                      <a:pt x="79" y="37"/>
                      <a:pt x="86" y="37"/>
                    </a:cubicBezTo>
                    <a:cubicBezTo>
                      <a:pt x="93" y="37"/>
                      <a:pt x="100" y="36"/>
                      <a:pt x="106" y="34"/>
                    </a:cubicBezTo>
                    <a:cubicBezTo>
                      <a:pt x="105" y="34"/>
                      <a:pt x="103" y="34"/>
                      <a:pt x="102" y="34"/>
                    </a:cubicBezTo>
                    <a:cubicBezTo>
                      <a:pt x="100" y="34"/>
                      <a:pt x="98" y="34"/>
                      <a:pt x="95" y="34"/>
                    </a:cubicBezTo>
                    <a:cubicBezTo>
                      <a:pt x="84" y="33"/>
                      <a:pt x="68" y="29"/>
                      <a:pt x="52" y="23"/>
                    </a:cubicBezTo>
                    <a:cubicBezTo>
                      <a:pt x="36" y="17"/>
                      <a:pt x="21" y="12"/>
                      <a:pt x="10" y="7"/>
                    </a:cubicBezTo>
                    <a:cubicBezTo>
                      <a:pt x="7" y="5"/>
                      <a:pt x="4" y="4"/>
                      <a:pt x="1" y="2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6" y="3"/>
                      <a:pt x="10" y="5"/>
                    </a:cubicBezTo>
                    <a:cubicBezTo>
                      <a:pt x="10" y="5"/>
                      <a:pt x="10" y="4"/>
                      <a:pt x="10" y="4"/>
                    </a:cubicBezTo>
                    <a:cubicBezTo>
                      <a:pt x="6" y="2"/>
                      <a:pt x="3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A4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1" name="Freeform 183">
                <a:extLst>
                  <a:ext uri="{FF2B5EF4-FFF2-40B4-BE49-F238E27FC236}">
                    <a16:creationId xmlns:a16="http://schemas.microsoft.com/office/drawing/2014/main" id="{5D9D0FBF-0CF6-FD01-95A5-E52477F21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1254"/>
                <a:ext cx="177" cy="56"/>
              </a:xfrm>
              <a:custGeom>
                <a:avLst/>
                <a:gdLst>
                  <a:gd name="T0" fmla="*/ 0 w 108"/>
                  <a:gd name="T1" fmla="*/ 0 h 34"/>
                  <a:gd name="T2" fmla="*/ 1 w 108"/>
                  <a:gd name="T3" fmla="*/ 2 h 34"/>
                  <a:gd name="T4" fmla="*/ 10 w 108"/>
                  <a:gd name="T5" fmla="*/ 7 h 34"/>
                  <a:gd name="T6" fmla="*/ 52 w 108"/>
                  <a:gd name="T7" fmla="*/ 23 h 34"/>
                  <a:gd name="T8" fmla="*/ 95 w 108"/>
                  <a:gd name="T9" fmla="*/ 34 h 34"/>
                  <a:gd name="T10" fmla="*/ 102 w 108"/>
                  <a:gd name="T11" fmla="*/ 34 h 34"/>
                  <a:gd name="T12" fmla="*/ 106 w 108"/>
                  <a:gd name="T13" fmla="*/ 34 h 34"/>
                  <a:gd name="T14" fmla="*/ 108 w 108"/>
                  <a:gd name="T15" fmla="*/ 33 h 34"/>
                  <a:gd name="T16" fmla="*/ 103 w 108"/>
                  <a:gd name="T17" fmla="*/ 33 h 34"/>
                  <a:gd name="T18" fmla="*/ 103 w 108"/>
                  <a:gd name="T19" fmla="*/ 34 h 34"/>
                  <a:gd name="T20" fmla="*/ 103 w 108"/>
                  <a:gd name="T21" fmla="*/ 34 h 34"/>
                  <a:gd name="T22" fmla="*/ 103 w 108"/>
                  <a:gd name="T23" fmla="*/ 33 h 34"/>
                  <a:gd name="T24" fmla="*/ 98 w 108"/>
                  <a:gd name="T25" fmla="*/ 33 h 34"/>
                  <a:gd name="T26" fmla="*/ 95 w 108"/>
                  <a:gd name="T27" fmla="*/ 32 h 34"/>
                  <a:gd name="T28" fmla="*/ 55 w 108"/>
                  <a:gd name="T29" fmla="*/ 22 h 34"/>
                  <a:gd name="T30" fmla="*/ 55 w 108"/>
                  <a:gd name="T31" fmla="*/ 22 h 34"/>
                  <a:gd name="T32" fmla="*/ 55 w 108"/>
                  <a:gd name="T33" fmla="*/ 22 h 34"/>
                  <a:gd name="T34" fmla="*/ 54 w 108"/>
                  <a:gd name="T35" fmla="*/ 21 h 34"/>
                  <a:gd name="T36" fmla="*/ 53 w 108"/>
                  <a:gd name="T37" fmla="*/ 21 h 34"/>
                  <a:gd name="T38" fmla="*/ 11 w 108"/>
                  <a:gd name="T39" fmla="*/ 6 h 34"/>
                  <a:gd name="T40" fmla="*/ 11 w 108"/>
                  <a:gd name="T41" fmla="*/ 6 h 34"/>
                  <a:gd name="T42" fmla="*/ 11 w 108"/>
                  <a:gd name="T43" fmla="*/ 6 h 34"/>
                  <a:gd name="T44" fmla="*/ 11 w 108"/>
                  <a:gd name="T45" fmla="*/ 6 h 34"/>
                  <a:gd name="T46" fmla="*/ 10 w 108"/>
                  <a:gd name="T47" fmla="*/ 5 h 34"/>
                  <a:gd name="T48" fmla="*/ 0 w 108"/>
                  <a:gd name="T4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8" h="34">
                    <a:moveTo>
                      <a:pt x="0" y="0"/>
                    </a:moveTo>
                    <a:cubicBezTo>
                      <a:pt x="0" y="1"/>
                      <a:pt x="1" y="1"/>
                      <a:pt x="1" y="2"/>
                    </a:cubicBezTo>
                    <a:cubicBezTo>
                      <a:pt x="4" y="4"/>
                      <a:pt x="7" y="5"/>
                      <a:pt x="10" y="7"/>
                    </a:cubicBezTo>
                    <a:cubicBezTo>
                      <a:pt x="21" y="12"/>
                      <a:pt x="36" y="17"/>
                      <a:pt x="52" y="23"/>
                    </a:cubicBezTo>
                    <a:cubicBezTo>
                      <a:pt x="68" y="29"/>
                      <a:pt x="84" y="33"/>
                      <a:pt x="95" y="34"/>
                    </a:cubicBezTo>
                    <a:cubicBezTo>
                      <a:pt x="98" y="34"/>
                      <a:pt x="100" y="34"/>
                      <a:pt x="102" y="34"/>
                    </a:cubicBezTo>
                    <a:cubicBezTo>
                      <a:pt x="103" y="34"/>
                      <a:pt x="105" y="34"/>
                      <a:pt x="106" y="34"/>
                    </a:cubicBezTo>
                    <a:cubicBezTo>
                      <a:pt x="107" y="34"/>
                      <a:pt x="108" y="34"/>
                      <a:pt x="108" y="33"/>
                    </a:cubicBezTo>
                    <a:cubicBezTo>
                      <a:pt x="107" y="33"/>
                      <a:pt x="105" y="33"/>
                      <a:pt x="103" y="33"/>
                    </a:cubicBezTo>
                    <a:cubicBezTo>
                      <a:pt x="103" y="33"/>
                      <a:pt x="103" y="34"/>
                      <a:pt x="103" y="34"/>
                    </a:cubicBezTo>
                    <a:cubicBezTo>
                      <a:pt x="103" y="34"/>
                      <a:pt x="103" y="34"/>
                      <a:pt x="103" y="34"/>
                    </a:cubicBezTo>
                    <a:cubicBezTo>
                      <a:pt x="103" y="34"/>
                      <a:pt x="103" y="33"/>
                      <a:pt x="103" y="33"/>
                    </a:cubicBezTo>
                    <a:cubicBezTo>
                      <a:pt x="101" y="33"/>
                      <a:pt x="100" y="33"/>
                      <a:pt x="98" y="33"/>
                    </a:cubicBezTo>
                    <a:cubicBezTo>
                      <a:pt x="97" y="33"/>
                      <a:pt x="96" y="32"/>
                      <a:pt x="95" y="32"/>
                    </a:cubicBezTo>
                    <a:cubicBezTo>
                      <a:pt x="84" y="31"/>
                      <a:pt x="70" y="27"/>
                      <a:pt x="55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5" y="22"/>
                      <a:pt x="54" y="22"/>
                      <a:pt x="54" y="21"/>
                    </a:cubicBezTo>
                    <a:cubicBezTo>
                      <a:pt x="54" y="21"/>
                      <a:pt x="53" y="21"/>
                      <a:pt x="53" y="21"/>
                    </a:cubicBezTo>
                    <a:cubicBezTo>
                      <a:pt x="36" y="15"/>
                      <a:pt x="21" y="10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0" y="6"/>
                      <a:pt x="10" y="6"/>
                      <a:pt x="10" y="5"/>
                    </a:cubicBezTo>
                    <a:cubicBezTo>
                      <a:pt x="6" y="3"/>
                      <a:pt x="2" y="1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2" name="Freeform 184">
                <a:extLst>
                  <a:ext uri="{FF2B5EF4-FFF2-40B4-BE49-F238E27FC236}">
                    <a16:creationId xmlns:a16="http://schemas.microsoft.com/office/drawing/2014/main" id="{36CD6275-CC62-BA5E-E1EB-2BC6EF73A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1" y="1261"/>
                <a:ext cx="2" cy="3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1 h 2"/>
                  <a:gd name="T4" fmla="*/ 1 w 1"/>
                  <a:gd name="T5" fmla="*/ 2 h 2"/>
                  <a:gd name="T6" fmla="*/ 1 w 1"/>
                  <a:gd name="T7" fmla="*/ 2 h 2"/>
                  <a:gd name="T8" fmla="*/ 1 w 1"/>
                  <a:gd name="T9" fmla="*/ 2 h 2"/>
                  <a:gd name="T10" fmla="*/ 1 w 1"/>
                  <a:gd name="T11" fmla="*/ 0 h 2"/>
                  <a:gd name="T12" fmla="*/ 0 w 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3" name="Freeform 185">
                <a:extLst>
                  <a:ext uri="{FF2B5EF4-FFF2-40B4-BE49-F238E27FC236}">
                    <a16:creationId xmlns:a16="http://schemas.microsoft.com/office/drawing/2014/main" id="{BC63CECE-A58E-0B1A-F2E7-F965F036A9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3" y="1289"/>
                <a:ext cx="2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1 w 1"/>
                  <a:gd name="T9" fmla="*/ 1 h 1"/>
                  <a:gd name="T10" fmla="*/ 1 w 1"/>
                  <a:gd name="T11" fmla="*/ 0 h 1"/>
                  <a:gd name="T12" fmla="*/ 0 w 1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4" name="Freeform 186">
                <a:extLst>
                  <a:ext uri="{FF2B5EF4-FFF2-40B4-BE49-F238E27FC236}">
                    <a16:creationId xmlns:a16="http://schemas.microsoft.com/office/drawing/2014/main" id="{321415F8-2E53-0512-91CC-DFC96B557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4" y="1309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  <a:gd name="T4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5" name="Freeform 187">
                <a:extLst>
                  <a:ext uri="{FF2B5EF4-FFF2-40B4-BE49-F238E27FC236}">
                    <a16:creationId xmlns:a16="http://schemas.microsoft.com/office/drawing/2014/main" id="{DC9FC190-33B3-C43F-D157-61A90FEF3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1086"/>
                <a:ext cx="106" cy="328"/>
              </a:xfrm>
              <a:custGeom>
                <a:avLst/>
                <a:gdLst>
                  <a:gd name="T0" fmla="*/ 62 w 64"/>
                  <a:gd name="T1" fmla="*/ 112 h 199"/>
                  <a:gd name="T2" fmla="*/ 37 w 64"/>
                  <a:gd name="T3" fmla="*/ 115 h 199"/>
                  <a:gd name="T4" fmla="*/ 34 w 64"/>
                  <a:gd name="T5" fmla="*/ 81 h 199"/>
                  <a:gd name="T6" fmla="*/ 30 w 64"/>
                  <a:gd name="T7" fmla="*/ 52 h 199"/>
                  <a:gd name="T8" fmla="*/ 32 w 64"/>
                  <a:gd name="T9" fmla="*/ 0 h 199"/>
                  <a:gd name="T10" fmla="*/ 6 w 64"/>
                  <a:gd name="T11" fmla="*/ 30 h 199"/>
                  <a:gd name="T12" fmla="*/ 3 w 64"/>
                  <a:gd name="T13" fmla="*/ 41 h 199"/>
                  <a:gd name="T14" fmla="*/ 0 w 64"/>
                  <a:gd name="T15" fmla="*/ 132 h 199"/>
                  <a:gd name="T16" fmla="*/ 0 w 64"/>
                  <a:gd name="T17" fmla="*/ 171 h 199"/>
                  <a:gd name="T18" fmla="*/ 44 w 64"/>
                  <a:gd name="T19" fmla="*/ 199 h 199"/>
                  <a:gd name="T20" fmla="*/ 43 w 64"/>
                  <a:gd name="T21" fmla="*/ 153 h 199"/>
                  <a:gd name="T22" fmla="*/ 53 w 64"/>
                  <a:gd name="T23" fmla="*/ 142 h 199"/>
                  <a:gd name="T24" fmla="*/ 62 w 64"/>
                  <a:gd name="T25" fmla="*/ 1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199">
                    <a:moveTo>
                      <a:pt x="62" y="112"/>
                    </a:moveTo>
                    <a:cubicBezTo>
                      <a:pt x="37" y="115"/>
                      <a:pt x="37" y="115"/>
                      <a:pt x="37" y="115"/>
                    </a:cubicBezTo>
                    <a:cubicBezTo>
                      <a:pt x="34" y="81"/>
                      <a:pt x="34" y="81"/>
                      <a:pt x="34" y="81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4" y="33"/>
                      <a:pt x="3" y="37"/>
                      <a:pt x="3" y="41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0" y="171"/>
                      <a:pt x="0" y="171"/>
                      <a:pt x="0" y="171"/>
                    </a:cubicBezTo>
                    <a:cubicBezTo>
                      <a:pt x="44" y="199"/>
                      <a:pt x="44" y="199"/>
                      <a:pt x="44" y="199"/>
                    </a:cubicBezTo>
                    <a:cubicBezTo>
                      <a:pt x="43" y="153"/>
                      <a:pt x="43" y="153"/>
                      <a:pt x="43" y="153"/>
                    </a:cubicBezTo>
                    <a:cubicBezTo>
                      <a:pt x="43" y="153"/>
                      <a:pt x="43" y="153"/>
                      <a:pt x="53" y="142"/>
                    </a:cubicBezTo>
                    <a:cubicBezTo>
                      <a:pt x="64" y="131"/>
                      <a:pt x="62" y="112"/>
                      <a:pt x="62" y="112"/>
                    </a:cubicBezTo>
                    <a:close/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6" name="Rectangle 188">
                <a:extLst>
                  <a:ext uri="{FF2B5EF4-FFF2-40B4-BE49-F238E27FC236}">
                    <a16:creationId xmlns:a16="http://schemas.microsoft.com/office/drawing/2014/main" id="{096A4F99-B37D-CBA3-8601-C5A2A5AAE1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7" y="1015"/>
                <a:ext cx="170" cy="455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7" name="Freeform 189">
                <a:extLst>
                  <a:ext uri="{FF2B5EF4-FFF2-40B4-BE49-F238E27FC236}">
                    <a16:creationId xmlns:a16="http://schemas.microsoft.com/office/drawing/2014/main" id="{7B0E62BF-D78C-2CB0-F34A-8E3DB96EBE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3" y="1141"/>
                <a:ext cx="70" cy="140"/>
              </a:xfrm>
              <a:custGeom>
                <a:avLst/>
                <a:gdLst>
                  <a:gd name="T0" fmla="*/ 0 w 43"/>
                  <a:gd name="T1" fmla="*/ 38 h 85"/>
                  <a:gd name="T2" fmla="*/ 20 w 43"/>
                  <a:gd name="T3" fmla="*/ 9 h 85"/>
                  <a:gd name="T4" fmla="*/ 28 w 43"/>
                  <a:gd name="T5" fmla="*/ 2 h 85"/>
                  <a:gd name="T6" fmla="*/ 39 w 43"/>
                  <a:gd name="T7" fmla="*/ 3 h 85"/>
                  <a:gd name="T8" fmla="*/ 41 w 43"/>
                  <a:gd name="T9" fmla="*/ 15 h 85"/>
                  <a:gd name="T10" fmla="*/ 33 w 43"/>
                  <a:gd name="T11" fmla="*/ 25 h 85"/>
                  <a:gd name="T12" fmla="*/ 27 w 43"/>
                  <a:gd name="T13" fmla="*/ 36 h 85"/>
                  <a:gd name="T14" fmla="*/ 29 w 43"/>
                  <a:gd name="T15" fmla="*/ 48 h 85"/>
                  <a:gd name="T16" fmla="*/ 19 w 43"/>
                  <a:gd name="T17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" h="85">
                    <a:moveTo>
                      <a:pt x="0" y="38"/>
                    </a:moveTo>
                    <a:cubicBezTo>
                      <a:pt x="6" y="28"/>
                      <a:pt x="12" y="18"/>
                      <a:pt x="20" y="9"/>
                    </a:cubicBezTo>
                    <a:cubicBezTo>
                      <a:pt x="22" y="7"/>
                      <a:pt x="25" y="4"/>
                      <a:pt x="28" y="2"/>
                    </a:cubicBezTo>
                    <a:cubicBezTo>
                      <a:pt x="32" y="0"/>
                      <a:pt x="36" y="0"/>
                      <a:pt x="39" y="3"/>
                    </a:cubicBezTo>
                    <a:cubicBezTo>
                      <a:pt x="43" y="6"/>
                      <a:pt x="43" y="11"/>
                      <a:pt x="41" y="15"/>
                    </a:cubicBezTo>
                    <a:cubicBezTo>
                      <a:pt x="39" y="19"/>
                      <a:pt x="36" y="22"/>
                      <a:pt x="33" y="25"/>
                    </a:cubicBezTo>
                    <a:cubicBezTo>
                      <a:pt x="30" y="28"/>
                      <a:pt x="28" y="32"/>
                      <a:pt x="27" y="36"/>
                    </a:cubicBezTo>
                    <a:cubicBezTo>
                      <a:pt x="27" y="40"/>
                      <a:pt x="28" y="44"/>
                      <a:pt x="29" y="48"/>
                    </a:cubicBezTo>
                    <a:cubicBezTo>
                      <a:pt x="33" y="61"/>
                      <a:pt x="29" y="76"/>
                      <a:pt x="19" y="85"/>
                    </a:cubicBezTo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8" name="Freeform 190">
                <a:extLst>
                  <a:ext uri="{FF2B5EF4-FFF2-40B4-BE49-F238E27FC236}">
                    <a16:creationId xmlns:a16="http://schemas.microsoft.com/office/drawing/2014/main" id="{7397ADBC-1273-C87B-688F-499B646F3C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3" y="1141"/>
                <a:ext cx="74" cy="140"/>
              </a:xfrm>
              <a:custGeom>
                <a:avLst/>
                <a:gdLst>
                  <a:gd name="T0" fmla="*/ 19 w 45"/>
                  <a:gd name="T1" fmla="*/ 85 h 85"/>
                  <a:gd name="T2" fmla="*/ 23 w 45"/>
                  <a:gd name="T3" fmla="*/ 80 h 85"/>
                  <a:gd name="T4" fmla="*/ 29 w 45"/>
                  <a:gd name="T5" fmla="*/ 66 h 85"/>
                  <a:gd name="T6" fmla="*/ 29 w 45"/>
                  <a:gd name="T7" fmla="*/ 55 h 85"/>
                  <a:gd name="T8" fmla="*/ 27 w 45"/>
                  <a:gd name="T9" fmla="*/ 43 h 85"/>
                  <a:gd name="T10" fmla="*/ 26 w 45"/>
                  <a:gd name="T11" fmla="*/ 36 h 85"/>
                  <a:gd name="T12" fmla="*/ 29 w 45"/>
                  <a:gd name="T13" fmla="*/ 29 h 85"/>
                  <a:gd name="T14" fmla="*/ 38 w 45"/>
                  <a:gd name="T15" fmla="*/ 17 h 85"/>
                  <a:gd name="T16" fmla="*/ 41 w 45"/>
                  <a:gd name="T17" fmla="*/ 11 h 85"/>
                  <a:gd name="T18" fmla="*/ 39 w 45"/>
                  <a:gd name="T19" fmla="*/ 5 h 85"/>
                  <a:gd name="T20" fmla="*/ 28 w 45"/>
                  <a:gd name="T21" fmla="*/ 3 h 85"/>
                  <a:gd name="T22" fmla="*/ 19 w 45"/>
                  <a:gd name="T23" fmla="*/ 12 h 85"/>
                  <a:gd name="T24" fmla="*/ 12 w 45"/>
                  <a:gd name="T25" fmla="*/ 20 h 85"/>
                  <a:gd name="T26" fmla="*/ 3 w 45"/>
                  <a:gd name="T27" fmla="*/ 33 h 85"/>
                  <a:gd name="T28" fmla="*/ 0 w 45"/>
                  <a:gd name="T29" fmla="*/ 38 h 85"/>
                  <a:gd name="T30" fmla="*/ 3 w 45"/>
                  <a:gd name="T31" fmla="*/ 33 h 85"/>
                  <a:gd name="T32" fmla="*/ 11 w 45"/>
                  <a:gd name="T33" fmla="*/ 19 h 85"/>
                  <a:gd name="T34" fmla="*/ 18 w 45"/>
                  <a:gd name="T35" fmla="*/ 11 h 85"/>
                  <a:gd name="T36" fmla="*/ 27 w 45"/>
                  <a:gd name="T37" fmla="*/ 2 h 85"/>
                  <a:gd name="T38" fmla="*/ 34 w 45"/>
                  <a:gd name="T39" fmla="*/ 0 h 85"/>
                  <a:gd name="T40" fmla="*/ 41 w 45"/>
                  <a:gd name="T41" fmla="*/ 3 h 85"/>
                  <a:gd name="T42" fmla="*/ 40 w 45"/>
                  <a:gd name="T43" fmla="*/ 19 h 85"/>
                  <a:gd name="T44" fmla="*/ 31 w 45"/>
                  <a:gd name="T45" fmla="*/ 30 h 85"/>
                  <a:gd name="T46" fmla="*/ 28 w 45"/>
                  <a:gd name="T47" fmla="*/ 36 h 85"/>
                  <a:gd name="T48" fmla="*/ 29 w 45"/>
                  <a:gd name="T49" fmla="*/ 43 h 85"/>
                  <a:gd name="T50" fmla="*/ 31 w 45"/>
                  <a:gd name="T51" fmla="*/ 55 h 85"/>
                  <a:gd name="T52" fmla="*/ 30 w 45"/>
                  <a:gd name="T53" fmla="*/ 66 h 85"/>
                  <a:gd name="T54" fmla="*/ 23 w 45"/>
                  <a:gd name="T55" fmla="*/ 81 h 85"/>
                  <a:gd name="T56" fmla="*/ 20 w 45"/>
                  <a:gd name="T57" fmla="*/ 84 h 85"/>
                  <a:gd name="T58" fmla="*/ 19 w 45"/>
                  <a:gd name="T5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5" h="85">
                    <a:moveTo>
                      <a:pt x="19" y="85"/>
                    </a:moveTo>
                    <a:cubicBezTo>
                      <a:pt x="19" y="85"/>
                      <a:pt x="20" y="83"/>
                      <a:pt x="23" y="80"/>
                    </a:cubicBezTo>
                    <a:cubicBezTo>
                      <a:pt x="25" y="77"/>
                      <a:pt x="27" y="73"/>
                      <a:pt x="29" y="66"/>
                    </a:cubicBezTo>
                    <a:cubicBezTo>
                      <a:pt x="29" y="63"/>
                      <a:pt x="30" y="59"/>
                      <a:pt x="29" y="55"/>
                    </a:cubicBezTo>
                    <a:cubicBezTo>
                      <a:pt x="29" y="51"/>
                      <a:pt x="28" y="48"/>
                      <a:pt x="27" y="43"/>
                    </a:cubicBezTo>
                    <a:cubicBezTo>
                      <a:pt x="26" y="41"/>
                      <a:pt x="26" y="39"/>
                      <a:pt x="26" y="36"/>
                    </a:cubicBezTo>
                    <a:cubicBezTo>
                      <a:pt x="26" y="33"/>
                      <a:pt x="28" y="31"/>
                      <a:pt x="29" y="29"/>
                    </a:cubicBezTo>
                    <a:cubicBezTo>
                      <a:pt x="32" y="25"/>
                      <a:pt x="36" y="21"/>
                      <a:pt x="38" y="17"/>
                    </a:cubicBezTo>
                    <a:cubicBezTo>
                      <a:pt x="40" y="15"/>
                      <a:pt x="41" y="13"/>
                      <a:pt x="41" y="11"/>
                    </a:cubicBezTo>
                    <a:cubicBezTo>
                      <a:pt x="41" y="9"/>
                      <a:pt x="41" y="6"/>
                      <a:pt x="39" y="5"/>
                    </a:cubicBezTo>
                    <a:cubicBezTo>
                      <a:pt x="37" y="1"/>
                      <a:pt x="32" y="1"/>
                      <a:pt x="28" y="3"/>
                    </a:cubicBezTo>
                    <a:cubicBezTo>
                      <a:pt x="24" y="5"/>
                      <a:pt x="22" y="9"/>
                      <a:pt x="19" y="12"/>
                    </a:cubicBezTo>
                    <a:cubicBezTo>
                      <a:pt x="17" y="15"/>
                      <a:pt x="14" y="18"/>
                      <a:pt x="12" y="20"/>
                    </a:cubicBezTo>
                    <a:cubicBezTo>
                      <a:pt x="8" y="26"/>
                      <a:pt x="5" y="30"/>
                      <a:pt x="3" y="33"/>
                    </a:cubicBezTo>
                    <a:cubicBezTo>
                      <a:pt x="1" y="37"/>
                      <a:pt x="0" y="38"/>
                      <a:pt x="0" y="38"/>
                    </a:cubicBezTo>
                    <a:cubicBezTo>
                      <a:pt x="0" y="38"/>
                      <a:pt x="1" y="36"/>
                      <a:pt x="3" y="33"/>
                    </a:cubicBezTo>
                    <a:cubicBezTo>
                      <a:pt x="4" y="30"/>
                      <a:pt x="7" y="25"/>
                      <a:pt x="11" y="19"/>
                    </a:cubicBezTo>
                    <a:cubicBezTo>
                      <a:pt x="13" y="17"/>
                      <a:pt x="15" y="14"/>
                      <a:pt x="18" y="11"/>
                    </a:cubicBezTo>
                    <a:cubicBezTo>
                      <a:pt x="20" y="8"/>
                      <a:pt x="23" y="4"/>
                      <a:pt x="27" y="2"/>
                    </a:cubicBezTo>
                    <a:cubicBezTo>
                      <a:pt x="29" y="0"/>
                      <a:pt x="32" y="0"/>
                      <a:pt x="34" y="0"/>
                    </a:cubicBezTo>
                    <a:cubicBezTo>
                      <a:pt x="37" y="0"/>
                      <a:pt x="39" y="1"/>
                      <a:pt x="41" y="3"/>
                    </a:cubicBezTo>
                    <a:cubicBezTo>
                      <a:pt x="45" y="8"/>
                      <a:pt x="43" y="14"/>
                      <a:pt x="40" y="19"/>
                    </a:cubicBezTo>
                    <a:cubicBezTo>
                      <a:pt x="37" y="23"/>
                      <a:pt x="33" y="26"/>
                      <a:pt x="31" y="30"/>
                    </a:cubicBezTo>
                    <a:cubicBezTo>
                      <a:pt x="29" y="32"/>
                      <a:pt x="29" y="34"/>
                      <a:pt x="28" y="36"/>
                    </a:cubicBezTo>
                    <a:cubicBezTo>
                      <a:pt x="28" y="38"/>
                      <a:pt x="28" y="41"/>
                      <a:pt x="29" y="43"/>
                    </a:cubicBezTo>
                    <a:cubicBezTo>
                      <a:pt x="30" y="47"/>
                      <a:pt x="31" y="51"/>
                      <a:pt x="31" y="55"/>
                    </a:cubicBezTo>
                    <a:cubicBezTo>
                      <a:pt x="32" y="59"/>
                      <a:pt x="31" y="63"/>
                      <a:pt x="30" y="66"/>
                    </a:cubicBezTo>
                    <a:cubicBezTo>
                      <a:pt x="29" y="73"/>
                      <a:pt x="26" y="78"/>
                      <a:pt x="23" y="81"/>
                    </a:cubicBezTo>
                    <a:cubicBezTo>
                      <a:pt x="22" y="82"/>
                      <a:pt x="21" y="83"/>
                      <a:pt x="20" y="84"/>
                    </a:cubicBezTo>
                    <a:cubicBezTo>
                      <a:pt x="20" y="85"/>
                      <a:pt x="19" y="85"/>
                      <a:pt x="19" y="85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9" name="Freeform 191">
                <a:extLst>
                  <a:ext uri="{FF2B5EF4-FFF2-40B4-BE49-F238E27FC236}">
                    <a16:creationId xmlns:a16="http://schemas.microsoft.com/office/drawing/2014/main" id="{8DB977CB-3349-B9D9-5B30-37D3C6DED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" y="1883"/>
                <a:ext cx="178" cy="94"/>
              </a:xfrm>
              <a:custGeom>
                <a:avLst/>
                <a:gdLst>
                  <a:gd name="T0" fmla="*/ 59 w 108"/>
                  <a:gd name="T1" fmla="*/ 0 h 57"/>
                  <a:gd name="T2" fmla="*/ 0 w 108"/>
                  <a:gd name="T3" fmla="*/ 4 h 57"/>
                  <a:gd name="T4" fmla="*/ 2 w 108"/>
                  <a:gd name="T5" fmla="*/ 47 h 57"/>
                  <a:gd name="T6" fmla="*/ 108 w 108"/>
                  <a:gd name="T7" fmla="*/ 57 h 57"/>
                  <a:gd name="T8" fmla="*/ 59 w 108"/>
                  <a:gd name="T9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57">
                    <a:moveTo>
                      <a:pt x="59" y="0"/>
                    </a:moveTo>
                    <a:cubicBezTo>
                      <a:pt x="53" y="3"/>
                      <a:pt x="0" y="4"/>
                      <a:pt x="0" y="4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59" y="0"/>
                      <a:pt x="59" y="0"/>
                      <a:pt x="59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0" name="Freeform 192">
                <a:extLst>
                  <a:ext uri="{FF2B5EF4-FFF2-40B4-BE49-F238E27FC236}">
                    <a16:creationId xmlns:a16="http://schemas.microsoft.com/office/drawing/2014/main" id="{95E6F0C4-899D-0EE2-322A-12708CD446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1827"/>
                <a:ext cx="410" cy="160"/>
              </a:xfrm>
              <a:custGeom>
                <a:avLst/>
                <a:gdLst>
                  <a:gd name="T0" fmla="*/ 3 w 249"/>
                  <a:gd name="T1" fmla="*/ 0 h 97"/>
                  <a:gd name="T2" fmla="*/ 0 w 249"/>
                  <a:gd name="T3" fmla="*/ 9 h 97"/>
                  <a:gd name="T4" fmla="*/ 112 w 249"/>
                  <a:gd name="T5" fmla="*/ 94 h 97"/>
                  <a:gd name="T6" fmla="*/ 120 w 249"/>
                  <a:gd name="T7" fmla="*/ 97 h 97"/>
                  <a:gd name="T8" fmla="*/ 248 w 249"/>
                  <a:gd name="T9" fmla="*/ 97 h 97"/>
                  <a:gd name="T10" fmla="*/ 249 w 249"/>
                  <a:gd name="T11" fmla="*/ 87 h 97"/>
                  <a:gd name="T12" fmla="*/ 129 w 249"/>
                  <a:gd name="T13" fmla="*/ 3 h 97"/>
                  <a:gd name="T14" fmla="*/ 3 w 249"/>
                  <a:gd name="T15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9" h="97">
                    <a:moveTo>
                      <a:pt x="3" y="0"/>
                    </a:moveTo>
                    <a:cubicBezTo>
                      <a:pt x="3" y="0"/>
                      <a:pt x="0" y="5"/>
                      <a:pt x="0" y="9"/>
                    </a:cubicBezTo>
                    <a:cubicBezTo>
                      <a:pt x="0" y="12"/>
                      <a:pt x="93" y="80"/>
                      <a:pt x="112" y="94"/>
                    </a:cubicBezTo>
                    <a:cubicBezTo>
                      <a:pt x="114" y="96"/>
                      <a:pt x="117" y="97"/>
                      <a:pt x="120" y="97"/>
                    </a:cubicBezTo>
                    <a:cubicBezTo>
                      <a:pt x="248" y="97"/>
                      <a:pt x="248" y="97"/>
                      <a:pt x="248" y="97"/>
                    </a:cubicBezTo>
                    <a:cubicBezTo>
                      <a:pt x="249" y="87"/>
                      <a:pt x="249" y="87"/>
                      <a:pt x="249" y="87"/>
                    </a:cubicBezTo>
                    <a:cubicBezTo>
                      <a:pt x="249" y="87"/>
                      <a:pt x="132" y="3"/>
                      <a:pt x="129" y="3"/>
                    </a:cubicBezTo>
                    <a:cubicBezTo>
                      <a:pt x="127" y="4"/>
                      <a:pt x="3" y="0"/>
                      <a:pt x="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1" name="Freeform 193">
                <a:extLst>
                  <a:ext uri="{FF2B5EF4-FFF2-40B4-BE49-F238E27FC236}">
                    <a16:creationId xmlns:a16="http://schemas.microsoft.com/office/drawing/2014/main" id="{F9C11CF0-D2CC-B781-6CCA-7461958B6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4" y="1839"/>
                <a:ext cx="369" cy="128"/>
              </a:xfrm>
              <a:custGeom>
                <a:avLst/>
                <a:gdLst>
                  <a:gd name="T0" fmla="*/ 113 w 224"/>
                  <a:gd name="T1" fmla="*/ 1 h 78"/>
                  <a:gd name="T2" fmla="*/ 0 w 224"/>
                  <a:gd name="T3" fmla="*/ 0 h 78"/>
                  <a:gd name="T4" fmla="*/ 99 w 224"/>
                  <a:gd name="T5" fmla="*/ 74 h 78"/>
                  <a:gd name="T6" fmla="*/ 105 w 224"/>
                  <a:gd name="T7" fmla="*/ 76 h 78"/>
                  <a:gd name="T8" fmla="*/ 224 w 224"/>
                  <a:gd name="T9" fmla="*/ 78 h 78"/>
                  <a:gd name="T10" fmla="*/ 113 w 224"/>
                  <a:gd name="T11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78">
                    <a:moveTo>
                      <a:pt x="113" y="1"/>
                    </a:moveTo>
                    <a:cubicBezTo>
                      <a:pt x="111" y="1"/>
                      <a:pt x="0" y="0"/>
                      <a:pt x="0" y="0"/>
                    </a:cubicBezTo>
                    <a:cubicBezTo>
                      <a:pt x="0" y="0"/>
                      <a:pt x="85" y="63"/>
                      <a:pt x="99" y="74"/>
                    </a:cubicBezTo>
                    <a:cubicBezTo>
                      <a:pt x="101" y="75"/>
                      <a:pt x="103" y="76"/>
                      <a:pt x="105" y="76"/>
                    </a:cubicBezTo>
                    <a:cubicBezTo>
                      <a:pt x="224" y="78"/>
                      <a:pt x="224" y="78"/>
                      <a:pt x="224" y="78"/>
                    </a:cubicBezTo>
                    <a:cubicBezTo>
                      <a:pt x="113" y="1"/>
                      <a:pt x="113" y="1"/>
                      <a:pt x="113" y="1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2" name="Freeform 194">
                <a:extLst>
                  <a:ext uri="{FF2B5EF4-FFF2-40B4-BE49-F238E27FC236}">
                    <a16:creationId xmlns:a16="http://schemas.microsoft.com/office/drawing/2014/main" id="{FCFCB14D-F704-E416-37E0-2734ACCB58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2" y="1854"/>
                <a:ext cx="168" cy="97"/>
              </a:xfrm>
              <a:custGeom>
                <a:avLst/>
                <a:gdLst>
                  <a:gd name="T0" fmla="*/ 101 w 102"/>
                  <a:gd name="T1" fmla="*/ 28 h 59"/>
                  <a:gd name="T2" fmla="*/ 92 w 102"/>
                  <a:gd name="T3" fmla="*/ 28 h 59"/>
                  <a:gd name="T4" fmla="*/ 56 w 102"/>
                  <a:gd name="T5" fmla="*/ 3 h 59"/>
                  <a:gd name="T6" fmla="*/ 30 w 102"/>
                  <a:gd name="T7" fmla="*/ 0 h 59"/>
                  <a:gd name="T8" fmla="*/ 2 w 102"/>
                  <a:gd name="T9" fmla="*/ 10 h 59"/>
                  <a:gd name="T10" fmla="*/ 11 w 102"/>
                  <a:gd name="T11" fmla="*/ 18 h 59"/>
                  <a:gd name="T12" fmla="*/ 35 w 102"/>
                  <a:gd name="T13" fmla="*/ 13 h 59"/>
                  <a:gd name="T14" fmla="*/ 71 w 102"/>
                  <a:gd name="T15" fmla="*/ 44 h 59"/>
                  <a:gd name="T16" fmla="*/ 102 w 102"/>
                  <a:gd name="T17" fmla="*/ 59 h 59"/>
                  <a:gd name="T18" fmla="*/ 101 w 102"/>
                  <a:gd name="T19" fmla="*/ 2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59">
                    <a:moveTo>
                      <a:pt x="101" y="28"/>
                    </a:moveTo>
                    <a:cubicBezTo>
                      <a:pt x="92" y="28"/>
                      <a:pt x="92" y="28"/>
                      <a:pt x="92" y="28"/>
                    </a:cubicBezTo>
                    <a:cubicBezTo>
                      <a:pt x="92" y="28"/>
                      <a:pt x="59" y="4"/>
                      <a:pt x="56" y="3"/>
                    </a:cubicBezTo>
                    <a:cubicBezTo>
                      <a:pt x="55" y="3"/>
                      <a:pt x="30" y="0"/>
                      <a:pt x="30" y="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0" y="17"/>
                      <a:pt x="11" y="18"/>
                    </a:cubicBezTo>
                    <a:cubicBezTo>
                      <a:pt x="22" y="19"/>
                      <a:pt x="35" y="13"/>
                      <a:pt x="35" y="13"/>
                    </a:cubicBezTo>
                    <a:cubicBezTo>
                      <a:pt x="35" y="13"/>
                      <a:pt x="60" y="38"/>
                      <a:pt x="71" y="44"/>
                    </a:cubicBezTo>
                    <a:cubicBezTo>
                      <a:pt x="82" y="50"/>
                      <a:pt x="102" y="59"/>
                      <a:pt x="102" y="59"/>
                    </a:cubicBezTo>
                    <a:cubicBezTo>
                      <a:pt x="101" y="28"/>
                      <a:pt x="101" y="28"/>
                      <a:pt x="101" y="28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3" name="Freeform 195">
                <a:extLst>
                  <a:ext uri="{FF2B5EF4-FFF2-40B4-BE49-F238E27FC236}">
                    <a16:creationId xmlns:a16="http://schemas.microsoft.com/office/drawing/2014/main" id="{31795808-26A7-370B-F3FE-105C24CA87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" y="1887"/>
                <a:ext cx="91" cy="80"/>
              </a:xfrm>
              <a:custGeom>
                <a:avLst/>
                <a:gdLst>
                  <a:gd name="T0" fmla="*/ 40 w 55"/>
                  <a:gd name="T1" fmla="*/ 0 h 49"/>
                  <a:gd name="T2" fmla="*/ 0 w 55"/>
                  <a:gd name="T3" fmla="*/ 2 h 49"/>
                  <a:gd name="T4" fmla="*/ 2 w 55"/>
                  <a:gd name="T5" fmla="*/ 39 h 49"/>
                  <a:gd name="T6" fmla="*/ 11 w 55"/>
                  <a:gd name="T7" fmla="*/ 46 h 49"/>
                  <a:gd name="T8" fmla="*/ 48 w 55"/>
                  <a:gd name="T9" fmla="*/ 49 h 49"/>
                  <a:gd name="T10" fmla="*/ 52 w 55"/>
                  <a:gd name="T11" fmla="*/ 45 h 49"/>
                  <a:gd name="T12" fmla="*/ 55 w 55"/>
                  <a:gd name="T13" fmla="*/ 45 h 49"/>
                  <a:gd name="T14" fmla="*/ 51 w 55"/>
                  <a:gd name="T15" fmla="*/ 44 h 49"/>
                  <a:gd name="T16" fmla="*/ 51 w 55"/>
                  <a:gd name="T17" fmla="*/ 45 h 49"/>
                  <a:gd name="T18" fmla="*/ 51 w 55"/>
                  <a:gd name="T19" fmla="*/ 45 h 49"/>
                  <a:gd name="T20" fmla="*/ 51 w 55"/>
                  <a:gd name="T21" fmla="*/ 43 h 49"/>
                  <a:gd name="T22" fmla="*/ 50 w 55"/>
                  <a:gd name="T23" fmla="*/ 42 h 49"/>
                  <a:gd name="T24" fmla="*/ 46 w 55"/>
                  <a:gd name="T25" fmla="*/ 26 h 49"/>
                  <a:gd name="T26" fmla="*/ 42 w 55"/>
                  <a:gd name="T27" fmla="*/ 10 h 49"/>
                  <a:gd name="T28" fmla="*/ 40 w 55"/>
                  <a:gd name="T2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49">
                    <a:moveTo>
                      <a:pt x="40" y="0"/>
                    </a:moveTo>
                    <a:cubicBezTo>
                      <a:pt x="22" y="1"/>
                      <a:pt x="0" y="2"/>
                      <a:pt x="0" y="2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5" y="42"/>
                      <a:pt x="8" y="44"/>
                      <a:pt x="11" y="46"/>
                    </a:cubicBezTo>
                    <a:cubicBezTo>
                      <a:pt x="48" y="49"/>
                      <a:pt x="48" y="49"/>
                      <a:pt x="48" y="49"/>
                    </a:cubicBezTo>
                    <a:cubicBezTo>
                      <a:pt x="49" y="47"/>
                      <a:pt x="50" y="46"/>
                      <a:pt x="52" y="45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53" y="45"/>
                      <a:pt x="52" y="44"/>
                      <a:pt x="51" y="44"/>
                    </a:cubicBezTo>
                    <a:cubicBezTo>
                      <a:pt x="51" y="44"/>
                      <a:pt x="51" y="45"/>
                      <a:pt x="51" y="45"/>
                    </a:cubicBezTo>
                    <a:cubicBezTo>
                      <a:pt x="51" y="45"/>
                      <a:pt x="51" y="45"/>
                      <a:pt x="51" y="45"/>
                    </a:cubicBezTo>
                    <a:cubicBezTo>
                      <a:pt x="51" y="45"/>
                      <a:pt x="51" y="44"/>
                      <a:pt x="51" y="43"/>
                    </a:cubicBezTo>
                    <a:cubicBezTo>
                      <a:pt x="50" y="43"/>
                      <a:pt x="50" y="42"/>
                      <a:pt x="50" y="42"/>
                    </a:cubicBezTo>
                    <a:cubicBezTo>
                      <a:pt x="49" y="38"/>
                      <a:pt x="48" y="32"/>
                      <a:pt x="46" y="26"/>
                    </a:cubicBezTo>
                    <a:cubicBezTo>
                      <a:pt x="45" y="21"/>
                      <a:pt x="44" y="16"/>
                      <a:pt x="42" y="10"/>
                    </a:cubicBezTo>
                    <a:cubicBezTo>
                      <a:pt x="41" y="7"/>
                      <a:pt x="40" y="4"/>
                      <a:pt x="40" y="0"/>
                    </a:cubicBezTo>
                  </a:path>
                </a:pathLst>
              </a:custGeom>
              <a:solidFill>
                <a:srgbClr val="D7BC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4" name="Freeform 196">
                <a:extLst>
                  <a:ext uri="{FF2B5EF4-FFF2-40B4-BE49-F238E27FC236}">
                    <a16:creationId xmlns:a16="http://schemas.microsoft.com/office/drawing/2014/main" id="{1F517A50-58A1-BA9F-FB3F-E83C377D22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2" y="1951"/>
                <a:ext cx="15" cy="11"/>
              </a:xfrm>
              <a:custGeom>
                <a:avLst/>
                <a:gdLst>
                  <a:gd name="T0" fmla="*/ 0 w 9"/>
                  <a:gd name="T1" fmla="*/ 0 h 7"/>
                  <a:gd name="T2" fmla="*/ 0 w 9"/>
                  <a:gd name="T3" fmla="*/ 5 h 7"/>
                  <a:gd name="T4" fmla="*/ 0 w 9"/>
                  <a:gd name="T5" fmla="*/ 6 h 7"/>
                  <a:gd name="T6" fmla="*/ 9 w 9"/>
                  <a:gd name="T7" fmla="*/ 7 h 7"/>
                  <a:gd name="T8" fmla="*/ 0 w 9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7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6" y="5"/>
                      <a:pt x="3" y="3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5" name="Rectangle 197">
                <a:extLst>
                  <a:ext uri="{FF2B5EF4-FFF2-40B4-BE49-F238E27FC236}">
                    <a16:creationId xmlns:a16="http://schemas.microsoft.com/office/drawing/2014/main" id="{A8C79C71-FB62-515E-86DA-5AD33C96D0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2" y="1959"/>
                <a:ext cx="1" cy="2"/>
              </a:xfrm>
              <a:prstGeom prst="rect">
                <a:avLst/>
              </a:pr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6" name="Freeform 198">
                <a:extLst>
                  <a:ext uri="{FF2B5EF4-FFF2-40B4-BE49-F238E27FC236}">
                    <a16:creationId xmlns:a16="http://schemas.microsoft.com/office/drawing/2014/main" id="{8C562599-4821-1515-1D2A-9E8AD8F0B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2" y="1959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7" name="Freeform 199">
                <a:extLst>
                  <a:ext uri="{FF2B5EF4-FFF2-40B4-BE49-F238E27FC236}">
                    <a16:creationId xmlns:a16="http://schemas.microsoft.com/office/drawing/2014/main" id="{FFAB61BD-DB39-A503-FDB1-083343C46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2799"/>
                <a:ext cx="261" cy="311"/>
              </a:xfrm>
              <a:custGeom>
                <a:avLst/>
                <a:gdLst>
                  <a:gd name="T0" fmla="*/ 108 w 159"/>
                  <a:gd name="T1" fmla="*/ 0 h 189"/>
                  <a:gd name="T2" fmla="*/ 159 w 159"/>
                  <a:gd name="T3" fmla="*/ 124 h 189"/>
                  <a:gd name="T4" fmla="*/ 5 w 159"/>
                  <a:gd name="T5" fmla="*/ 189 h 189"/>
                  <a:gd name="T6" fmla="*/ 67 w 159"/>
                  <a:gd name="T7" fmla="*/ 111 h 189"/>
                  <a:gd name="T8" fmla="*/ 31 w 159"/>
                  <a:gd name="T9" fmla="*/ 33 h 189"/>
                  <a:gd name="T10" fmla="*/ 108 w 159"/>
                  <a:gd name="T11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9" h="189">
                    <a:moveTo>
                      <a:pt x="108" y="0"/>
                    </a:moveTo>
                    <a:cubicBezTo>
                      <a:pt x="159" y="124"/>
                      <a:pt x="159" y="124"/>
                      <a:pt x="159" y="124"/>
                    </a:cubicBezTo>
                    <a:cubicBezTo>
                      <a:pt x="5" y="189"/>
                      <a:pt x="5" y="189"/>
                      <a:pt x="5" y="189"/>
                    </a:cubicBezTo>
                    <a:cubicBezTo>
                      <a:pt x="0" y="174"/>
                      <a:pt x="67" y="111"/>
                      <a:pt x="67" y="111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108" y="0"/>
                      <a:pt x="108" y="0"/>
                      <a:pt x="108" y="0"/>
                    </a:cubicBezTo>
                  </a:path>
                </a:pathLst>
              </a:custGeom>
              <a:solidFill>
                <a:srgbClr val="54EE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8" name="Freeform 200">
                <a:extLst>
                  <a:ext uri="{FF2B5EF4-FFF2-40B4-BE49-F238E27FC236}">
                    <a16:creationId xmlns:a16="http://schemas.microsoft.com/office/drawing/2014/main" id="{B6FFB792-0642-CBD3-EFD2-E7D27880A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" y="2937"/>
                <a:ext cx="23" cy="22"/>
              </a:xfrm>
              <a:custGeom>
                <a:avLst/>
                <a:gdLst>
                  <a:gd name="T0" fmla="*/ 6 w 14"/>
                  <a:gd name="T1" fmla="*/ 0 h 13"/>
                  <a:gd name="T2" fmla="*/ 0 w 14"/>
                  <a:gd name="T3" fmla="*/ 7 h 13"/>
                  <a:gd name="T4" fmla="*/ 7 w 14"/>
                  <a:gd name="T5" fmla="*/ 13 h 13"/>
                  <a:gd name="T6" fmla="*/ 8 w 14"/>
                  <a:gd name="T7" fmla="*/ 13 h 13"/>
                  <a:gd name="T8" fmla="*/ 13 w 14"/>
                  <a:gd name="T9" fmla="*/ 5 h 13"/>
                  <a:gd name="T10" fmla="*/ 7 w 14"/>
                  <a:gd name="T11" fmla="*/ 0 h 13"/>
                  <a:gd name="T12" fmla="*/ 7 w 14"/>
                  <a:gd name="T13" fmla="*/ 0 h 13"/>
                  <a:gd name="T14" fmla="*/ 6 w 14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6" y="0"/>
                    </a:moveTo>
                    <a:cubicBezTo>
                      <a:pt x="3" y="0"/>
                      <a:pt x="0" y="4"/>
                      <a:pt x="0" y="7"/>
                    </a:cubicBezTo>
                    <a:cubicBezTo>
                      <a:pt x="1" y="10"/>
                      <a:pt x="4" y="13"/>
                      <a:pt x="7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2" y="12"/>
                      <a:pt x="14" y="9"/>
                      <a:pt x="13" y="5"/>
                    </a:cubicBezTo>
                    <a:cubicBezTo>
                      <a:pt x="13" y="2"/>
                      <a:pt x="10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</a:path>
                </a:pathLst>
              </a:custGeom>
              <a:solidFill>
                <a:srgbClr val="FFC7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9" name="Freeform 201">
                <a:extLst>
                  <a:ext uri="{FF2B5EF4-FFF2-40B4-BE49-F238E27FC236}">
                    <a16:creationId xmlns:a16="http://schemas.microsoft.com/office/drawing/2014/main" id="{5CF00687-FCE5-DB98-27FE-C4E62801B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4" y="2983"/>
                <a:ext cx="258" cy="127"/>
              </a:xfrm>
              <a:custGeom>
                <a:avLst/>
                <a:gdLst>
                  <a:gd name="T0" fmla="*/ 157 w 157"/>
                  <a:gd name="T1" fmla="*/ 12 h 77"/>
                  <a:gd name="T2" fmla="*/ 152 w 157"/>
                  <a:gd name="T3" fmla="*/ 0 h 77"/>
                  <a:gd name="T4" fmla="*/ 6 w 157"/>
                  <a:gd name="T5" fmla="*/ 66 h 77"/>
                  <a:gd name="T6" fmla="*/ 3 w 157"/>
                  <a:gd name="T7" fmla="*/ 77 h 77"/>
                  <a:gd name="T8" fmla="*/ 157 w 157"/>
                  <a:gd name="T9" fmla="*/ 12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77">
                    <a:moveTo>
                      <a:pt x="157" y="12"/>
                    </a:moveTo>
                    <a:cubicBezTo>
                      <a:pt x="152" y="0"/>
                      <a:pt x="152" y="0"/>
                      <a:pt x="152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6" y="66"/>
                      <a:pt x="0" y="72"/>
                      <a:pt x="3" y="77"/>
                    </a:cubicBezTo>
                    <a:lnTo>
                      <a:pt x="15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0" name="Freeform 202">
                <a:extLst>
                  <a:ext uri="{FF2B5EF4-FFF2-40B4-BE49-F238E27FC236}">
                    <a16:creationId xmlns:a16="http://schemas.microsoft.com/office/drawing/2014/main" id="{657A2FD4-5D4A-06C2-E72C-CD444DD4E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6" y="2977"/>
                <a:ext cx="31" cy="11"/>
              </a:xfrm>
              <a:custGeom>
                <a:avLst/>
                <a:gdLst>
                  <a:gd name="T0" fmla="*/ 0 w 19"/>
                  <a:gd name="T1" fmla="*/ 3 h 7"/>
                  <a:gd name="T2" fmla="*/ 9 w 19"/>
                  <a:gd name="T3" fmla="*/ 3 h 7"/>
                  <a:gd name="T4" fmla="*/ 18 w 19"/>
                  <a:gd name="T5" fmla="*/ 6 h 7"/>
                  <a:gd name="T6" fmla="*/ 10 w 19"/>
                  <a:gd name="T7" fmla="*/ 1 h 7"/>
                  <a:gd name="T8" fmla="*/ 0 w 19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7">
                    <a:moveTo>
                      <a:pt x="0" y="3"/>
                    </a:moveTo>
                    <a:cubicBezTo>
                      <a:pt x="1" y="4"/>
                      <a:pt x="5" y="3"/>
                      <a:pt x="9" y="3"/>
                    </a:cubicBezTo>
                    <a:cubicBezTo>
                      <a:pt x="14" y="4"/>
                      <a:pt x="17" y="7"/>
                      <a:pt x="18" y="6"/>
                    </a:cubicBezTo>
                    <a:cubicBezTo>
                      <a:pt x="19" y="6"/>
                      <a:pt x="16" y="2"/>
                      <a:pt x="10" y="1"/>
                    </a:cubicBezTo>
                    <a:cubicBezTo>
                      <a:pt x="4" y="0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1" name="Freeform 203">
                <a:extLst>
                  <a:ext uri="{FF2B5EF4-FFF2-40B4-BE49-F238E27FC236}">
                    <a16:creationId xmlns:a16="http://schemas.microsoft.com/office/drawing/2014/main" id="{D618B395-AAF8-4353-5CF3-EBD8172B74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5" y="3000"/>
                <a:ext cx="24" cy="16"/>
              </a:xfrm>
              <a:custGeom>
                <a:avLst/>
                <a:gdLst>
                  <a:gd name="T0" fmla="*/ 0 w 15"/>
                  <a:gd name="T1" fmla="*/ 2 h 10"/>
                  <a:gd name="T2" fmla="*/ 8 w 15"/>
                  <a:gd name="T3" fmla="*/ 5 h 10"/>
                  <a:gd name="T4" fmla="*/ 15 w 15"/>
                  <a:gd name="T5" fmla="*/ 10 h 10"/>
                  <a:gd name="T6" fmla="*/ 9 w 15"/>
                  <a:gd name="T7" fmla="*/ 3 h 10"/>
                  <a:gd name="T8" fmla="*/ 0 w 15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0" y="2"/>
                    </a:moveTo>
                    <a:cubicBezTo>
                      <a:pt x="0" y="3"/>
                      <a:pt x="4" y="3"/>
                      <a:pt x="8" y="5"/>
                    </a:cubicBezTo>
                    <a:cubicBezTo>
                      <a:pt x="12" y="7"/>
                      <a:pt x="14" y="10"/>
                      <a:pt x="15" y="10"/>
                    </a:cubicBezTo>
                    <a:cubicBezTo>
                      <a:pt x="15" y="10"/>
                      <a:pt x="14" y="5"/>
                      <a:pt x="9" y="3"/>
                    </a:cubicBezTo>
                    <a:cubicBezTo>
                      <a:pt x="4" y="0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2" name="Freeform 204">
                <a:extLst>
                  <a:ext uri="{FF2B5EF4-FFF2-40B4-BE49-F238E27FC236}">
                    <a16:creationId xmlns:a16="http://schemas.microsoft.com/office/drawing/2014/main" id="{C43F17D4-044C-EF4E-F895-61618BD97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3024"/>
                <a:ext cx="20" cy="19"/>
              </a:xfrm>
              <a:custGeom>
                <a:avLst/>
                <a:gdLst>
                  <a:gd name="T0" fmla="*/ 11 w 12"/>
                  <a:gd name="T1" fmla="*/ 11 h 11"/>
                  <a:gd name="T2" fmla="*/ 8 w 12"/>
                  <a:gd name="T3" fmla="*/ 3 h 11"/>
                  <a:gd name="T4" fmla="*/ 0 w 12"/>
                  <a:gd name="T5" fmla="*/ 0 h 11"/>
                  <a:gd name="T6" fmla="*/ 6 w 12"/>
                  <a:gd name="T7" fmla="*/ 5 h 11"/>
                  <a:gd name="T8" fmla="*/ 11 w 1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11" y="11"/>
                    </a:moveTo>
                    <a:cubicBezTo>
                      <a:pt x="12" y="10"/>
                      <a:pt x="11" y="6"/>
                      <a:pt x="8" y="3"/>
                    </a:cubicBezTo>
                    <a:cubicBezTo>
                      <a:pt x="4" y="0"/>
                      <a:pt x="0" y="0"/>
                      <a:pt x="0" y="0"/>
                    </a:cubicBezTo>
                    <a:cubicBezTo>
                      <a:pt x="0" y="1"/>
                      <a:pt x="3" y="2"/>
                      <a:pt x="6" y="5"/>
                    </a:cubicBezTo>
                    <a:cubicBezTo>
                      <a:pt x="9" y="8"/>
                      <a:pt x="10" y="11"/>
                      <a:pt x="1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8" name="Freeform 206">
              <a:extLst>
                <a:ext uri="{FF2B5EF4-FFF2-40B4-BE49-F238E27FC236}">
                  <a16:creationId xmlns:a16="http://schemas.microsoft.com/office/drawing/2014/main" id="{A0DD0B89-FB30-70C0-7917-F37475106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6" y="2937"/>
              <a:ext cx="28" cy="15"/>
            </a:xfrm>
            <a:custGeom>
              <a:avLst/>
              <a:gdLst>
                <a:gd name="T0" fmla="*/ 0 w 17"/>
                <a:gd name="T1" fmla="*/ 8 h 9"/>
                <a:gd name="T2" fmla="*/ 8 w 17"/>
                <a:gd name="T3" fmla="*/ 5 h 9"/>
                <a:gd name="T4" fmla="*/ 17 w 17"/>
                <a:gd name="T5" fmla="*/ 3 h 9"/>
                <a:gd name="T6" fmla="*/ 7 w 17"/>
                <a:gd name="T7" fmla="*/ 2 h 9"/>
                <a:gd name="T8" fmla="*/ 0 w 17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9">
                  <a:moveTo>
                    <a:pt x="0" y="8"/>
                  </a:moveTo>
                  <a:cubicBezTo>
                    <a:pt x="1" y="9"/>
                    <a:pt x="4" y="6"/>
                    <a:pt x="8" y="5"/>
                  </a:cubicBezTo>
                  <a:cubicBezTo>
                    <a:pt x="13" y="3"/>
                    <a:pt x="16" y="3"/>
                    <a:pt x="17" y="3"/>
                  </a:cubicBezTo>
                  <a:cubicBezTo>
                    <a:pt x="17" y="2"/>
                    <a:pt x="12" y="0"/>
                    <a:pt x="7" y="2"/>
                  </a:cubicBezTo>
                  <a:cubicBezTo>
                    <a:pt x="2" y="4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07">
              <a:extLst>
                <a:ext uri="{FF2B5EF4-FFF2-40B4-BE49-F238E27FC236}">
                  <a16:creationId xmlns:a16="http://schemas.microsoft.com/office/drawing/2014/main" id="{FA9046A2-7538-38F0-B6A2-D47F71A87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0" y="2883"/>
              <a:ext cx="32" cy="36"/>
            </a:xfrm>
            <a:custGeom>
              <a:avLst/>
              <a:gdLst>
                <a:gd name="T0" fmla="*/ 0 w 20"/>
                <a:gd name="T1" fmla="*/ 21 h 22"/>
                <a:gd name="T2" fmla="*/ 8 w 20"/>
                <a:gd name="T3" fmla="*/ 18 h 22"/>
                <a:gd name="T4" fmla="*/ 15 w 20"/>
                <a:gd name="T5" fmla="*/ 12 h 22"/>
                <a:gd name="T6" fmla="*/ 18 w 20"/>
                <a:gd name="T7" fmla="*/ 8 h 22"/>
                <a:gd name="T8" fmla="*/ 20 w 20"/>
                <a:gd name="T9" fmla="*/ 5 h 22"/>
                <a:gd name="T10" fmla="*/ 19 w 20"/>
                <a:gd name="T11" fmla="*/ 1 h 22"/>
                <a:gd name="T12" fmla="*/ 15 w 20"/>
                <a:gd name="T13" fmla="*/ 1 h 22"/>
                <a:gd name="T14" fmla="*/ 12 w 20"/>
                <a:gd name="T15" fmla="*/ 3 h 22"/>
                <a:gd name="T16" fmla="*/ 8 w 20"/>
                <a:gd name="T17" fmla="*/ 6 h 22"/>
                <a:gd name="T18" fmla="*/ 3 w 20"/>
                <a:gd name="T19" fmla="*/ 14 h 22"/>
                <a:gd name="T20" fmla="*/ 1 w 20"/>
                <a:gd name="T21" fmla="*/ 22 h 22"/>
                <a:gd name="T22" fmla="*/ 4 w 20"/>
                <a:gd name="T23" fmla="*/ 15 h 22"/>
                <a:gd name="T24" fmla="*/ 10 w 20"/>
                <a:gd name="T25" fmla="*/ 8 h 22"/>
                <a:gd name="T26" fmla="*/ 14 w 20"/>
                <a:gd name="T27" fmla="*/ 5 h 22"/>
                <a:gd name="T28" fmla="*/ 17 w 20"/>
                <a:gd name="T29" fmla="*/ 4 h 22"/>
                <a:gd name="T30" fmla="*/ 17 w 20"/>
                <a:gd name="T31" fmla="*/ 5 h 22"/>
                <a:gd name="T32" fmla="*/ 16 w 20"/>
                <a:gd name="T33" fmla="*/ 7 h 22"/>
                <a:gd name="T34" fmla="*/ 13 w 20"/>
                <a:gd name="T35" fmla="*/ 11 h 22"/>
                <a:gd name="T36" fmla="*/ 7 w 20"/>
                <a:gd name="T37" fmla="*/ 17 h 22"/>
                <a:gd name="T38" fmla="*/ 0 w 20"/>
                <a:gd name="T3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22">
                  <a:moveTo>
                    <a:pt x="0" y="21"/>
                  </a:moveTo>
                  <a:cubicBezTo>
                    <a:pt x="0" y="22"/>
                    <a:pt x="4" y="21"/>
                    <a:pt x="8" y="18"/>
                  </a:cubicBezTo>
                  <a:cubicBezTo>
                    <a:pt x="10" y="17"/>
                    <a:pt x="13" y="15"/>
                    <a:pt x="15" y="12"/>
                  </a:cubicBezTo>
                  <a:cubicBezTo>
                    <a:pt x="16" y="11"/>
                    <a:pt x="17" y="10"/>
                    <a:pt x="18" y="8"/>
                  </a:cubicBezTo>
                  <a:cubicBezTo>
                    <a:pt x="19" y="7"/>
                    <a:pt x="20" y="7"/>
                    <a:pt x="20" y="5"/>
                  </a:cubicBezTo>
                  <a:cubicBezTo>
                    <a:pt x="20" y="4"/>
                    <a:pt x="20" y="2"/>
                    <a:pt x="19" y="1"/>
                  </a:cubicBezTo>
                  <a:cubicBezTo>
                    <a:pt x="17" y="0"/>
                    <a:pt x="16" y="0"/>
                    <a:pt x="15" y="1"/>
                  </a:cubicBezTo>
                  <a:cubicBezTo>
                    <a:pt x="13" y="1"/>
                    <a:pt x="13" y="2"/>
                    <a:pt x="12" y="3"/>
                  </a:cubicBezTo>
                  <a:cubicBezTo>
                    <a:pt x="10" y="4"/>
                    <a:pt x="9" y="5"/>
                    <a:pt x="8" y="6"/>
                  </a:cubicBezTo>
                  <a:cubicBezTo>
                    <a:pt x="5" y="9"/>
                    <a:pt x="4" y="11"/>
                    <a:pt x="3" y="14"/>
                  </a:cubicBezTo>
                  <a:cubicBezTo>
                    <a:pt x="0" y="19"/>
                    <a:pt x="0" y="22"/>
                    <a:pt x="1" y="22"/>
                  </a:cubicBezTo>
                  <a:cubicBezTo>
                    <a:pt x="1" y="22"/>
                    <a:pt x="2" y="19"/>
                    <a:pt x="4" y="15"/>
                  </a:cubicBezTo>
                  <a:cubicBezTo>
                    <a:pt x="6" y="13"/>
                    <a:pt x="7" y="10"/>
                    <a:pt x="10" y="8"/>
                  </a:cubicBezTo>
                  <a:cubicBezTo>
                    <a:pt x="11" y="7"/>
                    <a:pt x="12" y="6"/>
                    <a:pt x="14" y="5"/>
                  </a:cubicBezTo>
                  <a:cubicBezTo>
                    <a:pt x="15" y="4"/>
                    <a:pt x="16" y="3"/>
                    <a:pt x="17" y="4"/>
                  </a:cubicBezTo>
                  <a:cubicBezTo>
                    <a:pt x="17" y="4"/>
                    <a:pt x="17" y="4"/>
                    <a:pt x="17" y="5"/>
                  </a:cubicBezTo>
                  <a:cubicBezTo>
                    <a:pt x="17" y="5"/>
                    <a:pt x="17" y="6"/>
                    <a:pt x="16" y="7"/>
                  </a:cubicBezTo>
                  <a:cubicBezTo>
                    <a:pt x="15" y="8"/>
                    <a:pt x="14" y="9"/>
                    <a:pt x="13" y="11"/>
                  </a:cubicBezTo>
                  <a:cubicBezTo>
                    <a:pt x="11" y="13"/>
                    <a:pt x="9" y="15"/>
                    <a:pt x="7" y="17"/>
                  </a:cubicBezTo>
                  <a:cubicBezTo>
                    <a:pt x="3" y="20"/>
                    <a:pt x="0" y="21"/>
                    <a:pt x="0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08">
              <a:extLst>
                <a:ext uri="{FF2B5EF4-FFF2-40B4-BE49-F238E27FC236}">
                  <a16:creationId xmlns:a16="http://schemas.microsoft.com/office/drawing/2014/main" id="{F8C735C9-4C1D-3776-3201-EF9FD07AD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2" y="2881"/>
              <a:ext cx="31" cy="38"/>
            </a:xfrm>
            <a:custGeom>
              <a:avLst/>
              <a:gdLst>
                <a:gd name="T0" fmla="*/ 19 w 19"/>
                <a:gd name="T1" fmla="*/ 23 h 23"/>
                <a:gd name="T2" fmla="*/ 18 w 19"/>
                <a:gd name="T3" fmla="*/ 15 h 23"/>
                <a:gd name="T4" fmla="*/ 13 w 19"/>
                <a:gd name="T5" fmla="*/ 7 h 23"/>
                <a:gd name="T6" fmla="*/ 9 w 19"/>
                <a:gd name="T7" fmla="*/ 3 h 23"/>
                <a:gd name="T8" fmla="*/ 3 w 19"/>
                <a:gd name="T9" fmla="*/ 1 h 23"/>
                <a:gd name="T10" fmla="*/ 0 w 19"/>
                <a:gd name="T11" fmla="*/ 5 h 23"/>
                <a:gd name="T12" fmla="*/ 1 w 19"/>
                <a:gd name="T13" fmla="*/ 8 h 23"/>
                <a:gd name="T14" fmla="*/ 3 w 19"/>
                <a:gd name="T15" fmla="*/ 13 h 23"/>
                <a:gd name="T16" fmla="*/ 9 w 19"/>
                <a:gd name="T17" fmla="*/ 20 h 23"/>
                <a:gd name="T18" fmla="*/ 18 w 19"/>
                <a:gd name="T19" fmla="*/ 22 h 23"/>
                <a:gd name="T20" fmla="*/ 11 w 19"/>
                <a:gd name="T21" fmla="*/ 18 h 23"/>
                <a:gd name="T22" fmla="*/ 5 w 19"/>
                <a:gd name="T23" fmla="*/ 12 h 23"/>
                <a:gd name="T24" fmla="*/ 3 w 19"/>
                <a:gd name="T25" fmla="*/ 7 h 23"/>
                <a:gd name="T26" fmla="*/ 4 w 19"/>
                <a:gd name="T27" fmla="*/ 4 h 23"/>
                <a:gd name="T28" fmla="*/ 7 w 19"/>
                <a:gd name="T29" fmla="*/ 5 h 23"/>
                <a:gd name="T30" fmla="*/ 11 w 19"/>
                <a:gd name="T31" fmla="*/ 9 h 23"/>
                <a:gd name="T32" fmla="*/ 16 w 19"/>
                <a:gd name="T33" fmla="*/ 16 h 23"/>
                <a:gd name="T34" fmla="*/ 19 w 19"/>
                <a:gd name="T3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" h="23">
                  <a:moveTo>
                    <a:pt x="19" y="23"/>
                  </a:moveTo>
                  <a:cubicBezTo>
                    <a:pt x="19" y="23"/>
                    <a:pt x="19" y="20"/>
                    <a:pt x="18" y="15"/>
                  </a:cubicBezTo>
                  <a:cubicBezTo>
                    <a:pt x="17" y="12"/>
                    <a:pt x="15" y="10"/>
                    <a:pt x="13" y="7"/>
                  </a:cubicBezTo>
                  <a:cubicBezTo>
                    <a:pt x="12" y="6"/>
                    <a:pt x="11" y="4"/>
                    <a:pt x="9" y="3"/>
                  </a:cubicBezTo>
                  <a:cubicBezTo>
                    <a:pt x="8" y="2"/>
                    <a:pt x="6" y="0"/>
                    <a:pt x="3" y="1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6"/>
                    <a:pt x="7" y="18"/>
                    <a:pt x="9" y="20"/>
                  </a:cubicBezTo>
                  <a:cubicBezTo>
                    <a:pt x="14" y="22"/>
                    <a:pt x="18" y="22"/>
                    <a:pt x="18" y="22"/>
                  </a:cubicBezTo>
                  <a:cubicBezTo>
                    <a:pt x="18" y="21"/>
                    <a:pt x="14" y="21"/>
                    <a:pt x="11" y="18"/>
                  </a:cubicBezTo>
                  <a:cubicBezTo>
                    <a:pt x="9" y="17"/>
                    <a:pt x="7" y="14"/>
                    <a:pt x="5" y="12"/>
                  </a:cubicBezTo>
                  <a:cubicBezTo>
                    <a:pt x="4" y="10"/>
                    <a:pt x="4" y="9"/>
                    <a:pt x="3" y="7"/>
                  </a:cubicBezTo>
                  <a:cubicBezTo>
                    <a:pt x="3" y="5"/>
                    <a:pt x="3" y="4"/>
                    <a:pt x="4" y="4"/>
                  </a:cubicBezTo>
                  <a:cubicBezTo>
                    <a:pt x="4" y="3"/>
                    <a:pt x="6" y="4"/>
                    <a:pt x="7" y="5"/>
                  </a:cubicBezTo>
                  <a:cubicBezTo>
                    <a:pt x="9" y="6"/>
                    <a:pt x="10" y="7"/>
                    <a:pt x="11" y="9"/>
                  </a:cubicBezTo>
                  <a:cubicBezTo>
                    <a:pt x="13" y="11"/>
                    <a:pt x="15" y="13"/>
                    <a:pt x="16" y="16"/>
                  </a:cubicBezTo>
                  <a:cubicBezTo>
                    <a:pt x="18" y="20"/>
                    <a:pt x="18" y="23"/>
                    <a:pt x="19" y="2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09">
              <a:extLst>
                <a:ext uri="{FF2B5EF4-FFF2-40B4-BE49-F238E27FC236}">
                  <a16:creationId xmlns:a16="http://schemas.microsoft.com/office/drawing/2014/main" id="{08101DD2-6BA3-235F-3E34-FFAF4E9FC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6" y="2883"/>
              <a:ext cx="265" cy="301"/>
            </a:xfrm>
            <a:custGeom>
              <a:avLst/>
              <a:gdLst>
                <a:gd name="T0" fmla="*/ 116 w 161"/>
                <a:gd name="T1" fmla="*/ 0 h 183"/>
                <a:gd name="T2" fmla="*/ 161 w 161"/>
                <a:gd name="T3" fmla="*/ 126 h 183"/>
                <a:gd name="T4" fmla="*/ 4 w 161"/>
                <a:gd name="T5" fmla="*/ 183 h 183"/>
                <a:gd name="T6" fmla="*/ 70 w 161"/>
                <a:gd name="T7" fmla="*/ 108 h 183"/>
                <a:gd name="T8" fmla="*/ 38 w 161"/>
                <a:gd name="T9" fmla="*/ 28 h 183"/>
                <a:gd name="T10" fmla="*/ 116 w 161"/>
                <a:gd name="T11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83">
                  <a:moveTo>
                    <a:pt x="116" y="0"/>
                  </a:moveTo>
                  <a:cubicBezTo>
                    <a:pt x="161" y="126"/>
                    <a:pt x="161" y="126"/>
                    <a:pt x="161" y="126"/>
                  </a:cubicBezTo>
                  <a:cubicBezTo>
                    <a:pt x="4" y="183"/>
                    <a:pt x="4" y="183"/>
                    <a:pt x="4" y="183"/>
                  </a:cubicBezTo>
                  <a:cubicBezTo>
                    <a:pt x="0" y="168"/>
                    <a:pt x="70" y="108"/>
                    <a:pt x="70" y="10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54EE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10">
              <a:extLst>
                <a:ext uri="{FF2B5EF4-FFF2-40B4-BE49-F238E27FC236}">
                  <a16:creationId xmlns:a16="http://schemas.microsoft.com/office/drawing/2014/main" id="{C01108AE-0E30-0E1B-DA0B-846594B38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7" y="3021"/>
              <a:ext cx="23" cy="20"/>
            </a:xfrm>
            <a:custGeom>
              <a:avLst/>
              <a:gdLst>
                <a:gd name="T0" fmla="*/ 6 w 14"/>
                <a:gd name="T1" fmla="*/ 0 h 12"/>
                <a:gd name="T2" fmla="*/ 0 w 14"/>
                <a:gd name="T3" fmla="*/ 6 h 12"/>
                <a:gd name="T4" fmla="*/ 7 w 14"/>
                <a:gd name="T5" fmla="*/ 12 h 12"/>
                <a:gd name="T6" fmla="*/ 8 w 14"/>
                <a:gd name="T7" fmla="*/ 12 h 12"/>
                <a:gd name="T8" fmla="*/ 13 w 14"/>
                <a:gd name="T9" fmla="*/ 5 h 12"/>
                <a:gd name="T10" fmla="*/ 7 w 14"/>
                <a:gd name="T11" fmla="*/ 0 h 12"/>
                <a:gd name="T12" fmla="*/ 6 w 1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4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1" y="12"/>
                    <a:pt x="14" y="9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</a:path>
              </a:pathLst>
            </a:custGeom>
            <a:solidFill>
              <a:srgbClr val="FFC7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11">
              <a:extLst>
                <a:ext uri="{FF2B5EF4-FFF2-40B4-BE49-F238E27FC236}">
                  <a16:creationId xmlns:a16="http://schemas.microsoft.com/office/drawing/2014/main" id="{AEE7DF64-5B44-C776-773A-F8BC48609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" y="3069"/>
              <a:ext cx="262" cy="115"/>
            </a:xfrm>
            <a:custGeom>
              <a:avLst/>
              <a:gdLst>
                <a:gd name="T0" fmla="*/ 159 w 159"/>
                <a:gd name="T1" fmla="*/ 13 h 70"/>
                <a:gd name="T2" fmla="*/ 155 w 159"/>
                <a:gd name="T3" fmla="*/ 0 h 70"/>
                <a:gd name="T4" fmla="*/ 6 w 159"/>
                <a:gd name="T5" fmla="*/ 60 h 70"/>
                <a:gd name="T6" fmla="*/ 2 w 159"/>
                <a:gd name="T7" fmla="*/ 70 h 70"/>
                <a:gd name="T8" fmla="*/ 159 w 159"/>
                <a:gd name="T9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70">
                  <a:moveTo>
                    <a:pt x="159" y="13"/>
                  </a:moveTo>
                  <a:cubicBezTo>
                    <a:pt x="155" y="0"/>
                    <a:pt x="155" y="0"/>
                    <a:pt x="155" y="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0" y="65"/>
                    <a:pt x="2" y="70"/>
                  </a:cubicBezTo>
                  <a:lnTo>
                    <a:pt x="159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12">
              <a:extLst>
                <a:ext uri="{FF2B5EF4-FFF2-40B4-BE49-F238E27FC236}">
                  <a16:creationId xmlns:a16="http://schemas.microsoft.com/office/drawing/2014/main" id="{4DCFB09E-63E7-1C52-C37F-EDE707AFE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" y="3056"/>
              <a:ext cx="30" cy="13"/>
            </a:xfrm>
            <a:custGeom>
              <a:avLst/>
              <a:gdLst>
                <a:gd name="T0" fmla="*/ 0 w 18"/>
                <a:gd name="T1" fmla="*/ 3 h 8"/>
                <a:gd name="T2" fmla="*/ 9 w 18"/>
                <a:gd name="T3" fmla="*/ 4 h 8"/>
                <a:gd name="T4" fmla="*/ 18 w 18"/>
                <a:gd name="T5" fmla="*/ 7 h 8"/>
                <a:gd name="T6" fmla="*/ 10 w 18"/>
                <a:gd name="T7" fmla="*/ 1 h 8"/>
                <a:gd name="T8" fmla="*/ 0 w 18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8">
                  <a:moveTo>
                    <a:pt x="0" y="3"/>
                  </a:moveTo>
                  <a:cubicBezTo>
                    <a:pt x="1" y="4"/>
                    <a:pt x="4" y="3"/>
                    <a:pt x="9" y="4"/>
                  </a:cubicBezTo>
                  <a:cubicBezTo>
                    <a:pt x="14" y="5"/>
                    <a:pt x="17" y="8"/>
                    <a:pt x="18" y="7"/>
                  </a:cubicBezTo>
                  <a:cubicBezTo>
                    <a:pt x="18" y="7"/>
                    <a:pt x="15" y="2"/>
                    <a:pt x="10" y="1"/>
                  </a:cubicBezTo>
                  <a:cubicBezTo>
                    <a:pt x="4" y="0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13">
              <a:extLst>
                <a:ext uri="{FF2B5EF4-FFF2-40B4-BE49-F238E27FC236}">
                  <a16:creationId xmlns:a16="http://schemas.microsoft.com/office/drawing/2014/main" id="{1B24098B-40CC-E3FD-3694-DD0534C50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" y="3079"/>
              <a:ext cx="25" cy="18"/>
            </a:xfrm>
            <a:custGeom>
              <a:avLst/>
              <a:gdLst>
                <a:gd name="T0" fmla="*/ 0 w 15"/>
                <a:gd name="T1" fmla="*/ 2 h 11"/>
                <a:gd name="T2" fmla="*/ 8 w 15"/>
                <a:gd name="T3" fmla="*/ 5 h 11"/>
                <a:gd name="T4" fmla="*/ 14 w 15"/>
                <a:gd name="T5" fmla="*/ 10 h 11"/>
                <a:gd name="T6" fmla="*/ 9 w 15"/>
                <a:gd name="T7" fmla="*/ 3 h 11"/>
                <a:gd name="T8" fmla="*/ 0 w 15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1">
                  <a:moveTo>
                    <a:pt x="0" y="2"/>
                  </a:moveTo>
                  <a:cubicBezTo>
                    <a:pt x="0" y="3"/>
                    <a:pt x="4" y="3"/>
                    <a:pt x="8" y="5"/>
                  </a:cubicBezTo>
                  <a:cubicBezTo>
                    <a:pt x="12" y="7"/>
                    <a:pt x="14" y="11"/>
                    <a:pt x="14" y="10"/>
                  </a:cubicBezTo>
                  <a:cubicBezTo>
                    <a:pt x="15" y="10"/>
                    <a:pt x="14" y="5"/>
                    <a:pt x="9" y="3"/>
                  </a:cubicBezTo>
                  <a:cubicBezTo>
                    <a:pt x="5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14">
              <a:extLst>
                <a:ext uri="{FF2B5EF4-FFF2-40B4-BE49-F238E27FC236}">
                  <a16:creationId xmlns:a16="http://schemas.microsoft.com/office/drawing/2014/main" id="{76DFF071-890A-4213-257E-F09299DDD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" y="3100"/>
              <a:ext cx="20" cy="20"/>
            </a:xfrm>
            <a:custGeom>
              <a:avLst/>
              <a:gdLst>
                <a:gd name="T0" fmla="*/ 11 w 12"/>
                <a:gd name="T1" fmla="*/ 12 h 12"/>
                <a:gd name="T2" fmla="*/ 8 w 12"/>
                <a:gd name="T3" fmla="*/ 4 h 12"/>
                <a:gd name="T4" fmla="*/ 0 w 12"/>
                <a:gd name="T5" fmla="*/ 1 h 12"/>
                <a:gd name="T6" fmla="*/ 6 w 12"/>
                <a:gd name="T7" fmla="*/ 6 h 12"/>
                <a:gd name="T8" fmla="*/ 11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1" y="12"/>
                  </a:moveTo>
                  <a:cubicBezTo>
                    <a:pt x="12" y="12"/>
                    <a:pt x="11" y="8"/>
                    <a:pt x="8" y="4"/>
                  </a:cubicBezTo>
                  <a:cubicBezTo>
                    <a:pt x="5" y="1"/>
                    <a:pt x="0" y="0"/>
                    <a:pt x="0" y="1"/>
                  </a:cubicBezTo>
                  <a:cubicBezTo>
                    <a:pt x="0" y="2"/>
                    <a:pt x="3" y="3"/>
                    <a:pt x="6" y="6"/>
                  </a:cubicBezTo>
                  <a:cubicBezTo>
                    <a:pt x="9" y="9"/>
                    <a:pt x="10" y="12"/>
                    <a:pt x="11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15">
              <a:extLst>
                <a:ext uri="{FF2B5EF4-FFF2-40B4-BE49-F238E27FC236}">
                  <a16:creationId xmlns:a16="http://schemas.microsoft.com/office/drawing/2014/main" id="{D03CF51A-6975-B31B-4293-4EE63168C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6" y="3018"/>
              <a:ext cx="30" cy="13"/>
            </a:xfrm>
            <a:custGeom>
              <a:avLst/>
              <a:gdLst>
                <a:gd name="T0" fmla="*/ 1 w 18"/>
                <a:gd name="T1" fmla="*/ 7 h 8"/>
                <a:gd name="T2" fmla="*/ 9 w 18"/>
                <a:gd name="T3" fmla="*/ 4 h 8"/>
                <a:gd name="T4" fmla="*/ 18 w 18"/>
                <a:gd name="T5" fmla="*/ 2 h 8"/>
                <a:gd name="T6" fmla="*/ 8 w 18"/>
                <a:gd name="T7" fmla="*/ 1 h 8"/>
                <a:gd name="T8" fmla="*/ 1 w 18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8">
                  <a:moveTo>
                    <a:pt x="1" y="7"/>
                  </a:moveTo>
                  <a:cubicBezTo>
                    <a:pt x="1" y="8"/>
                    <a:pt x="5" y="5"/>
                    <a:pt x="9" y="4"/>
                  </a:cubicBezTo>
                  <a:cubicBezTo>
                    <a:pt x="13" y="3"/>
                    <a:pt x="17" y="3"/>
                    <a:pt x="18" y="2"/>
                  </a:cubicBezTo>
                  <a:cubicBezTo>
                    <a:pt x="18" y="1"/>
                    <a:pt x="13" y="0"/>
                    <a:pt x="8" y="1"/>
                  </a:cubicBezTo>
                  <a:cubicBezTo>
                    <a:pt x="3" y="3"/>
                    <a:pt x="0" y="7"/>
                    <a:pt x="1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16">
              <a:extLst>
                <a:ext uri="{FF2B5EF4-FFF2-40B4-BE49-F238E27FC236}">
                  <a16:creationId xmlns:a16="http://schemas.microsoft.com/office/drawing/2014/main" id="{84DAFD8D-2F8D-3C4E-9481-03DBCA3BA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3" y="2964"/>
              <a:ext cx="35" cy="34"/>
            </a:xfrm>
            <a:custGeom>
              <a:avLst/>
              <a:gdLst>
                <a:gd name="T0" fmla="*/ 0 w 21"/>
                <a:gd name="T1" fmla="*/ 20 h 21"/>
                <a:gd name="T2" fmla="*/ 8 w 21"/>
                <a:gd name="T3" fmla="*/ 17 h 21"/>
                <a:gd name="T4" fmla="*/ 15 w 21"/>
                <a:gd name="T5" fmla="*/ 12 h 21"/>
                <a:gd name="T6" fmla="*/ 19 w 21"/>
                <a:gd name="T7" fmla="*/ 8 h 21"/>
                <a:gd name="T8" fmla="*/ 20 w 21"/>
                <a:gd name="T9" fmla="*/ 5 h 21"/>
                <a:gd name="T10" fmla="*/ 19 w 21"/>
                <a:gd name="T11" fmla="*/ 1 h 21"/>
                <a:gd name="T12" fmla="*/ 15 w 21"/>
                <a:gd name="T13" fmla="*/ 0 h 21"/>
                <a:gd name="T14" fmla="*/ 12 w 21"/>
                <a:gd name="T15" fmla="*/ 2 h 21"/>
                <a:gd name="T16" fmla="*/ 8 w 21"/>
                <a:gd name="T17" fmla="*/ 5 h 21"/>
                <a:gd name="T18" fmla="*/ 3 w 21"/>
                <a:gd name="T19" fmla="*/ 13 h 21"/>
                <a:gd name="T20" fmla="*/ 0 w 21"/>
                <a:gd name="T21" fmla="*/ 21 h 21"/>
                <a:gd name="T22" fmla="*/ 4 w 21"/>
                <a:gd name="T23" fmla="*/ 14 h 21"/>
                <a:gd name="T24" fmla="*/ 10 w 21"/>
                <a:gd name="T25" fmla="*/ 7 h 21"/>
                <a:gd name="T26" fmla="*/ 14 w 21"/>
                <a:gd name="T27" fmla="*/ 4 h 21"/>
                <a:gd name="T28" fmla="*/ 18 w 21"/>
                <a:gd name="T29" fmla="*/ 3 h 21"/>
                <a:gd name="T30" fmla="*/ 18 w 21"/>
                <a:gd name="T31" fmla="*/ 4 h 21"/>
                <a:gd name="T32" fmla="*/ 16 w 21"/>
                <a:gd name="T33" fmla="*/ 6 h 21"/>
                <a:gd name="T34" fmla="*/ 13 w 21"/>
                <a:gd name="T35" fmla="*/ 10 h 21"/>
                <a:gd name="T36" fmla="*/ 7 w 21"/>
                <a:gd name="T37" fmla="*/ 16 h 21"/>
                <a:gd name="T38" fmla="*/ 0 w 21"/>
                <a:gd name="T3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" h="21">
                  <a:moveTo>
                    <a:pt x="0" y="20"/>
                  </a:moveTo>
                  <a:cubicBezTo>
                    <a:pt x="0" y="21"/>
                    <a:pt x="3" y="20"/>
                    <a:pt x="8" y="17"/>
                  </a:cubicBezTo>
                  <a:cubicBezTo>
                    <a:pt x="10" y="16"/>
                    <a:pt x="13" y="14"/>
                    <a:pt x="15" y="12"/>
                  </a:cubicBezTo>
                  <a:cubicBezTo>
                    <a:pt x="16" y="11"/>
                    <a:pt x="18" y="9"/>
                    <a:pt x="19" y="8"/>
                  </a:cubicBezTo>
                  <a:cubicBezTo>
                    <a:pt x="19" y="7"/>
                    <a:pt x="20" y="6"/>
                    <a:pt x="20" y="5"/>
                  </a:cubicBezTo>
                  <a:cubicBezTo>
                    <a:pt x="21" y="4"/>
                    <a:pt x="21" y="2"/>
                    <a:pt x="19" y="1"/>
                  </a:cubicBezTo>
                  <a:cubicBezTo>
                    <a:pt x="18" y="0"/>
                    <a:pt x="16" y="0"/>
                    <a:pt x="15" y="0"/>
                  </a:cubicBezTo>
                  <a:cubicBezTo>
                    <a:pt x="14" y="1"/>
                    <a:pt x="13" y="1"/>
                    <a:pt x="12" y="2"/>
                  </a:cubicBezTo>
                  <a:cubicBezTo>
                    <a:pt x="11" y="3"/>
                    <a:pt x="9" y="4"/>
                    <a:pt x="8" y="5"/>
                  </a:cubicBezTo>
                  <a:cubicBezTo>
                    <a:pt x="6" y="8"/>
                    <a:pt x="4" y="10"/>
                    <a:pt x="3" y="13"/>
                  </a:cubicBezTo>
                  <a:cubicBezTo>
                    <a:pt x="0" y="17"/>
                    <a:pt x="0" y="21"/>
                    <a:pt x="0" y="21"/>
                  </a:cubicBezTo>
                  <a:cubicBezTo>
                    <a:pt x="1" y="21"/>
                    <a:pt x="2" y="18"/>
                    <a:pt x="4" y="14"/>
                  </a:cubicBezTo>
                  <a:cubicBezTo>
                    <a:pt x="6" y="12"/>
                    <a:pt x="8" y="9"/>
                    <a:pt x="10" y="7"/>
                  </a:cubicBezTo>
                  <a:cubicBezTo>
                    <a:pt x="11" y="6"/>
                    <a:pt x="13" y="5"/>
                    <a:pt x="14" y="4"/>
                  </a:cubicBezTo>
                  <a:cubicBezTo>
                    <a:pt x="15" y="3"/>
                    <a:pt x="17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5"/>
                    <a:pt x="17" y="5"/>
                    <a:pt x="16" y="6"/>
                  </a:cubicBezTo>
                  <a:cubicBezTo>
                    <a:pt x="15" y="7"/>
                    <a:pt x="14" y="9"/>
                    <a:pt x="13" y="10"/>
                  </a:cubicBezTo>
                  <a:cubicBezTo>
                    <a:pt x="11" y="12"/>
                    <a:pt x="9" y="14"/>
                    <a:pt x="7" y="16"/>
                  </a:cubicBezTo>
                  <a:cubicBezTo>
                    <a:pt x="3" y="18"/>
                    <a:pt x="0" y="20"/>
                    <a:pt x="0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17">
              <a:extLst>
                <a:ext uri="{FF2B5EF4-FFF2-40B4-BE49-F238E27FC236}">
                  <a16:creationId xmlns:a16="http://schemas.microsoft.com/office/drawing/2014/main" id="{27D5373B-3839-4149-7EC7-C787605EE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" y="2959"/>
              <a:ext cx="29" cy="39"/>
            </a:xfrm>
            <a:custGeom>
              <a:avLst/>
              <a:gdLst>
                <a:gd name="T0" fmla="*/ 17 w 18"/>
                <a:gd name="T1" fmla="*/ 24 h 24"/>
                <a:gd name="T2" fmla="*/ 17 w 18"/>
                <a:gd name="T3" fmla="*/ 16 h 24"/>
                <a:gd name="T4" fmla="*/ 12 w 18"/>
                <a:gd name="T5" fmla="*/ 7 h 24"/>
                <a:gd name="T6" fmla="*/ 9 w 18"/>
                <a:gd name="T7" fmla="*/ 3 h 24"/>
                <a:gd name="T8" fmla="*/ 2 w 18"/>
                <a:gd name="T9" fmla="*/ 1 h 24"/>
                <a:gd name="T10" fmla="*/ 0 w 18"/>
                <a:gd name="T11" fmla="*/ 5 h 24"/>
                <a:gd name="T12" fmla="*/ 0 w 18"/>
                <a:gd name="T13" fmla="*/ 8 h 24"/>
                <a:gd name="T14" fmla="*/ 2 w 18"/>
                <a:gd name="T15" fmla="*/ 13 h 24"/>
                <a:gd name="T16" fmla="*/ 8 w 18"/>
                <a:gd name="T17" fmla="*/ 20 h 24"/>
                <a:gd name="T18" fmla="*/ 16 w 18"/>
                <a:gd name="T19" fmla="*/ 22 h 24"/>
                <a:gd name="T20" fmla="*/ 9 w 18"/>
                <a:gd name="T21" fmla="*/ 18 h 24"/>
                <a:gd name="T22" fmla="*/ 4 w 18"/>
                <a:gd name="T23" fmla="*/ 12 h 24"/>
                <a:gd name="T24" fmla="*/ 3 w 18"/>
                <a:gd name="T25" fmla="*/ 7 h 24"/>
                <a:gd name="T26" fmla="*/ 3 w 18"/>
                <a:gd name="T27" fmla="*/ 4 h 24"/>
                <a:gd name="T28" fmla="*/ 7 w 18"/>
                <a:gd name="T29" fmla="*/ 5 h 24"/>
                <a:gd name="T30" fmla="*/ 10 w 18"/>
                <a:gd name="T31" fmla="*/ 9 h 24"/>
                <a:gd name="T32" fmla="*/ 15 w 18"/>
                <a:gd name="T33" fmla="*/ 16 h 24"/>
                <a:gd name="T34" fmla="*/ 17 w 18"/>
                <a:gd name="T3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24">
                  <a:moveTo>
                    <a:pt x="17" y="24"/>
                  </a:moveTo>
                  <a:cubicBezTo>
                    <a:pt x="18" y="24"/>
                    <a:pt x="18" y="21"/>
                    <a:pt x="17" y="16"/>
                  </a:cubicBezTo>
                  <a:cubicBezTo>
                    <a:pt x="16" y="13"/>
                    <a:pt x="15" y="10"/>
                    <a:pt x="12" y="7"/>
                  </a:cubicBezTo>
                  <a:cubicBezTo>
                    <a:pt x="11" y="6"/>
                    <a:pt x="10" y="5"/>
                    <a:pt x="9" y="3"/>
                  </a:cubicBezTo>
                  <a:cubicBezTo>
                    <a:pt x="7" y="2"/>
                    <a:pt x="5" y="0"/>
                    <a:pt x="2" y="1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10"/>
                    <a:pt x="1" y="11"/>
                    <a:pt x="2" y="13"/>
                  </a:cubicBezTo>
                  <a:cubicBezTo>
                    <a:pt x="4" y="16"/>
                    <a:pt x="6" y="18"/>
                    <a:pt x="8" y="20"/>
                  </a:cubicBezTo>
                  <a:cubicBezTo>
                    <a:pt x="13" y="23"/>
                    <a:pt x="16" y="23"/>
                    <a:pt x="16" y="22"/>
                  </a:cubicBezTo>
                  <a:cubicBezTo>
                    <a:pt x="16" y="22"/>
                    <a:pt x="13" y="21"/>
                    <a:pt x="9" y="18"/>
                  </a:cubicBezTo>
                  <a:cubicBezTo>
                    <a:pt x="8" y="17"/>
                    <a:pt x="6" y="15"/>
                    <a:pt x="4" y="12"/>
                  </a:cubicBezTo>
                  <a:cubicBezTo>
                    <a:pt x="4" y="10"/>
                    <a:pt x="3" y="9"/>
                    <a:pt x="3" y="7"/>
                  </a:cubicBezTo>
                  <a:cubicBezTo>
                    <a:pt x="2" y="5"/>
                    <a:pt x="2" y="4"/>
                    <a:pt x="3" y="4"/>
                  </a:cubicBezTo>
                  <a:cubicBezTo>
                    <a:pt x="4" y="4"/>
                    <a:pt x="6" y="4"/>
                    <a:pt x="7" y="5"/>
                  </a:cubicBezTo>
                  <a:cubicBezTo>
                    <a:pt x="8" y="7"/>
                    <a:pt x="9" y="8"/>
                    <a:pt x="10" y="9"/>
                  </a:cubicBezTo>
                  <a:cubicBezTo>
                    <a:pt x="12" y="11"/>
                    <a:pt x="14" y="14"/>
                    <a:pt x="15" y="16"/>
                  </a:cubicBezTo>
                  <a:cubicBezTo>
                    <a:pt x="17" y="21"/>
                    <a:pt x="17" y="24"/>
                    <a:pt x="17" y="2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18">
              <a:extLst>
                <a:ext uri="{FF2B5EF4-FFF2-40B4-BE49-F238E27FC236}">
                  <a16:creationId xmlns:a16="http://schemas.microsoft.com/office/drawing/2014/main" id="{EB6226CB-7F85-2F95-8789-B1B974FCE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" y="1111"/>
              <a:ext cx="130" cy="375"/>
            </a:xfrm>
            <a:custGeom>
              <a:avLst/>
              <a:gdLst>
                <a:gd name="T0" fmla="*/ 14 w 79"/>
                <a:gd name="T1" fmla="*/ 0 h 228"/>
                <a:gd name="T2" fmla="*/ 7 w 79"/>
                <a:gd name="T3" fmla="*/ 21 h 228"/>
                <a:gd name="T4" fmla="*/ 10 w 79"/>
                <a:gd name="T5" fmla="*/ 45 h 228"/>
                <a:gd name="T6" fmla="*/ 3 w 79"/>
                <a:gd name="T7" fmla="*/ 91 h 228"/>
                <a:gd name="T8" fmla="*/ 13 w 79"/>
                <a:gd name="T9" fmla="*/ 136 h 228"/>
                <a:gd name="T10" fmla="*/ 28 w 79"/>
                <a:gd name="T11" fmla="*/ 176 h 228"/>
                <a:gd name="T12" fmla="*/ 7 w 79"/>
                <a:gd name="T13" fmla="*/ 222 h 228"/>
                <a:gd name="T14" fmla="*/ 13 w 79"/>
                <a:gd name="T15" fmla="*/ 228 h 228"/>
                <a:gd name="T16" fmla="*/ 21 w 79"/>
                <a:gd name="T17" fmla="*/ 228 h 228"/>
                <a:gd name="T18" fmla="*/ 58 w 79"/>
                <a:gd name="T19" fmla="*/ 221 h 228"/>
                <a:gd name="T20" fmla="*/ 71 w 79"/>
                <a:gd name="T21" fmla="*/ 215 h 228"/>
                <a:gd name="T22" fmla="*/ 76 w 79"/>
                <a:gd name="T23" fmla="*/ 201 h 228"/>
                <a:gd name="T24" fmla="*/ 68 w 79"/>
                <a:gd name="T25" fmla="*/ 109 h 228"/>
                <a:gd name="T26" fmla="*/ 67 w 79"/>
                <a:gd name="T2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228">
                  <a:moveTo>
                    <a:pt x="14" y="0"/>
                  </a:moveTo>
                  <a:cubicBezTo>
                    <a:pt x="8" y="5"/>
                    <a:pt x="6" y="14"/>
                    <a:pt x="7" y="21"/>
                  </a:cubicBezTo>
                  <a:cubicBezTo>
                    <a:pt x="8" y="29"/>
                    <a:pt x="10" y="37"/>
                    <a:pt x="10" y="45"/>
                  </a:cubicBezTo>
                  <a:cubicBezTo>
                    <a:pt x="11" y="61"/>
                    <a:pt x="3" y="75"/>
                    <a:pt x="3" y="91"/>
                  </a:cubicBezTo>
                  <a:cubicBezTo>
                    <a:pt x="3" y="106"/>
                    <a:pt x="12" y="120"/>
                    <a:pt x="13" y="136"/>
                  </a:cubicBezTo>
                  <a:cubicBezTo>
                    <a:pt x="15" y="150"/>
                    <a:pt x="32" y="161"/>
                    <a:pt x="28" y="176"/>
                  </a:cubicBezTo>
                  <a:cubicBezTo>
                    <a:pt x="24" y="190"/>
                    <a:pt x="0" y="209"/>
                    <a:pt x="7" y="222"/>
                  </a:cubicBezTo>
                  <a:cubicBezTo>
                    <a:pt x="9" y="224"/>
                    <a:pt x="11" y="227"/>
                    <a:pt x="13" y="228"/>
                  </a:cubicBezTo>
                  <a:cubicBezTo>
                    <a:pt x="16" y="228"/>
                    <a:pt x="18" y="228"/>
                    <a:pt x="21" y="228"/>
                  </a:cubicBezTo>
                  <a:cubicBezTo>
                    <a:pt x="33" y="225"/>
                    <a:pt x="46" y="223"/>
                    <a:pt x="58" y="221"/>
                  </a:cubicBezTo>
                  <a:cubicBezTo>
                    <a:pt x="62" y="220"/>
                    <a:pt x="67" y="219"/>
                    <a:pt x="71" y="215"/>
                  </a:cubicBezTo>
                  <a:cubicBezTo>
                    <a:pt x="74" y="212"/>
                    <a:pt x="75" y="206"/>
                    <a:pt x="76" y="201"/>
                  </a:cubicBezTo>
                  <a:cubicBezTo>
                    <a:pt x="79" y="170"/>
                    <a:pt x="71" y="140"/>
                    <a:pt x="68" y="109"/>
                  </a:cubicBezTo>
                  <a:cubicBezTo>
                    <a:pt x="63" y="73"/>
                    <a:pt x="63" y="36"/>
                    <a:pt x="67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Line 219">
              <a:extLst>
                <a:ext uri="{FF2B5EF4-FFF2-40B4-BE49-F238E27FC236}">
                  <a16:creationId xmlns:a16="http://schemas.microsoft.com/office/drawing/2014/main" id="{C1C50B6D-698E-4846-607C-F30E822619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3" y="145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Line 220">
              <a:extLst>
                <a:ext uri="{FF2B5EF4-FFF2-40B4-BE49-F238E27FC236}">
                  <a16:creationId xmlns:a16="http://schemas.microsoft.com/office/drawing/2014/main" id="{92A8BFA5-8601-399E-810F-A164E95BD4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3" y="145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21">
              <a:extLst>
                <a:ext uri="{FF2B5EF4-FFF2-40B4-BE49-F238E27FC236}">
                  <a16:creationId xmlns:a16="http://schemas.microsoft.com/office/drawing/2014/main" id="{A3BA96E0-5ED0-6446-0570-9308C4C96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6" y="1055"/>
              <a:ext cx="232" cy="426"/>
            </a:xfrm>
            <a:custGeom>
              <a:avLst/>
              <a:gdLst>
                <a:gd name="T0" fmla="*/ 0 w 141"/>
                <a:gd name="T1" fmla="*/ 73 h 259"/>
                <a:gd name="T2" fmla="*/ 67 w 141"/>
                <a:gd name="T3" fmla="*/ 2 h 259"/>
                <a:gd name="T4" fmla="*/ 141 w 141"/>
                <a:gd name="T5" fmla="*/ 70 h 259"/>
                <a:gd name="T6" fmla="*/ 139 w 141"/>
                <a:gd name="T7" fmla="*/ 227 h 259"/>
                <a:gd name="T8" fmla="*/ 136 w 141"/>
                <a:gd name="T9" fmla="*/ 235 h 259"/>
                <a:gd name="T10" fmla="*/ 94 w 141"/>
                <a:gd name="T11" fmla="*/ 258 h 259"/>
                <a:gd name="T12" fmla="*/ 53 w 141"/>
                <a:gd name="T13" fmla="*/ 247 h 259"/>
                <a:gd name="T14" fmla="*/ 47 w 141"/>
                <a:gd name="T15" fmla="*/ 235 h 259"/>
                <a:gd name="T16" fmla="*/ 49 w 141"/>
                <a:gd name="T17" fmla="*/ 200 h 259"/>
                <a:gd name="T18" fmla="*/ 49 w 141"/>
                <a:gd name="T19" fmla="*/ 199 h 259"/>
                <a:gd name="T20" fmla="*/ 39 w 141"/>
                <a:gd name="T21" fmla="*/ 199 h 259"/>
                <a:gd name="T22" fmla="*/ 2 w 141"/>
                <a:gd name="T23" fmla="*/ 150 h 259"/>
                <a:gd name="T24" fmla="*/ 0 w 141"/>
                <a:gd name="T25" fmla="*/ 73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259">
                  <a:moveTo>
                    <a:pt x="0" y="73"/>
                  </a:moveTo>
                  <a:cubicBezTo>
                    <a:pt x="0" y="36"/>
                    <a:pt x="30" y="4"/>
                    <a:pt x="67" y="2"/>
                  </a:cubicBezTo>
                  <a:cubicBezTo>
                    <a:pt x="107" y="0"/>
                    <a:pt x="140" y="31"/>
                    <a:pt x="141" y="70"/>
                  </a:cubicBezTo>
                  <a:cubicBezTo>
                    <a:pt x="139" y="227"/>
                    <a:pt x="139" y="227"/>
                    <a:pt x="139" y="227"/>
                  </a:cubicBezTo>
                  <a:cubicBezTo>
                    <a:pt x="139" y="230"/>
                    <a:pt x="138" y="233"/>
                    <a:pt x="136" y="235"/>
                  </a:cubicBezTo>
                  <a:cubicBezTo>
                    <a:pt x="126" y="248"/>
                    <a:pt x="109" y="257"/>
                    <a:pt x="94" y="258"/>
                  </a:cubicBezTo>
                  <a:cubicBezTo>
                    <a:pt x="79" y="259"/>
                    <a:pt x="65" y="254"/>
                    <a:pt x="53" y="247"/>
                  </a:cubicBezTo>
                  <a:cubicBezTo>
                    <a:pt x="49" y="244"/>
                    <a:pt x="47" y="239"/>
                    <a:pt x="47" y="235"/>
                  </a:cubicBezTo>
                  <a:cubicBezTo>
                    <a:pt x="49" y="200"/>
                    <a:pt x="49" y="200"/>
                    <a:pt x="49" y="20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47" y="199"/>
                    <a:pt x="41" y="199"/>
                    <a:pt x="39" y="199"/>
                  </a:cubicBezTo>
                  <a:cubicBezTo>
                    <a:pt x="30" y="196"/>
                    <a:pt x="7" y="185"/>
                    <a:pt x="2" y="150"/>
                  </a:cubicBezTo>
                  <a:cubicBezTo>
                    <a:pt x="0" y="138"/>
                    <a:pt x="0" y="105"/>
                    <a:pt x="0" y="73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Freeform 222">
              <a:extLst>
                <a:ext uri="{FF2B5EF4-FFF2-40B4-BE49-F238E27FC236}">
                  <a16:creationId xmlns:a16="http://schemas.microsoft.com/office/drawing/2014/main" id="{5AF42935-C5D0-050B-1DD1-0CE9E6BD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7" y="1182"/>
              <a:ext cx="34" cy="84"/>
            </a:xfrm>
            <a:custGeom>
              <a:avLst/>
              <a:gdLst>
                <a:gd name="T0" fmla="*/ 17 w 21"/>
                <a:gd name="T1" fmla="*/ 51 h 51"/>
                <a:gd name="T2" fmla="*/ 7 w 21"/>
                <a:gd name="T3" fmla="*/ 49 h 51"/>
                <a:gd name="T4" fmla="*/ 3 w 21"/>
                <a:gd name="T5" fmla="*/ 47 h 51"/>
                <a:gd name="T6" fmla="*/ 4 w 21"/>
                <a:gd name="T7" fmla="*/ 43 h 51"/>
                <a:gd name="T8" fmla="*/ 9 w 21"/>
                <a:gd name="T9" fmla="*/ 31 h 51"/>
                <a:gd name="T10" fmla="*/ 20 w 21"/>
                <a:gd name="T11" fmla="*/ 0 h 51"/>
                <a:gd name="T12" fmla="*/ 7 w 21"/>
                <a:gd name="T13" fmla="*/ 30 h 51"/>
                <a:gd name="T14" fmla="*/ 2 w 21"/>
                <a:gd name="T15" fmla="*/ 42 h 51"/>
                <a:gd name="T16" fmla="*/ 1 w 21"/>
                <a:gd name="T17" fmla="*/ 48 h 51"/>
                <a:gd name="T18" fmla="*/ 4 w 21"/>
                <a:gd name="T19" fmla="*/ 50 h 51"/>
                <a:gd name="T20" fmla="*/ 7 w 21"/>
                <a:gd name="T21" fmla="*/ 51 h 51"/>
                <a:gd name="T22" fmla="*/ 17 w 21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51">
                  <a:moveTo>
                    <a:pt x="17" y="51"/>
                  </a:moveTo>
                  <a:cubicBezTo>
                    <a:pt x="17" y="50"/>
                    <a:pt x="13" y="50"/>
                    <a:pt x="7" y="49"/>
                  </a:cubicBezTo>
                  <a:cubicBezTo>
                    <a:pt x="5" y="49"/>
                    <a:pt x="4" y="48"/>
                    <a:pt x="3" y="47"/>
                  </a:cubicBezTo>
                  <a:cubicBezTo>
                    <a:pt x="3" y="46"/>
                    <a:pt x="4" y="44"/>
                    <a:pt x="4" y="43"/>
                  </a:cubicBezTo>
                  <a:cubicBezTo>
                    <a:pt x="6" y="39"/>
                    <a:pt x="7" y="35"/>
                    <a:pt x="9" y="31"/>
                  </a:cubicBezTo>
                  <a:cubicBezTo>
                    <a:pt x="16" y="14"/>
                    <a:pt x="21" y="0"/>
                    <a:pt x="20" y="0"/>
                  </a:cubicBezTo>
                  <a:cubicBezTo>
                    <a:pt x="19" y="0"/>
                    <a:pt x="13" y="13"/>
                    <a:pt x="7" y="30"/>
                  </a:cubicBezTo>
                  <a:cubicBezTo>
                    <a:pt x="5" y="34"/>
                    <a:pt x="4" y="38"/>
                    <a:pt x="2" y="42"/>
                  </a:cubicBezTo>
                  <a:cubicBezTo>
                    <a:pt x="1" y="44"/>
                    <a:pt x="0" y="46"/>
                    <a:pt x="1" y="48"/>
                  </a:cubicBezTo>
                  <a:cubicBezTo>
                    <a:pt x="2" y="49"/>
                    <a:pt x="3" y="50"/>
                    <a:pt x="4" y="50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13" y="51"/>
                    <a:pt x="17" y="51"/>
                    <a:pt x="17" y="5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Freeform 223">
              <a:extLst>
                <a:ext uri="{FF2B5EF4-FFF2-40B4-BE49-F238E27FC236}">
                  <a16:creationId xmlns:a16="http://schemas.microsoft.com/office/drawing/2014/main" id="{09A3CE7A-612A-6D38-70BB-61333BAB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" y="1210"/>
              <a:ext cx="20" cy="20"/>
            </a:xfrm>
            <a:custGeom>
              <a:avLst/>
              <a:gdLst>
                <a:gd name="T0" fmla="*/ 1 w 12"/>
                <a:gd name="T1" fmla="*/ 6 h 12"/>
                <a:gd name="T2" fmla="*/ 6 w 12"/>
                <a:gd name="T3" fmla="*/ 11 h 12"/>
                <a:gd name="T4" fmla="*/ 12 w 12"/>
                <a:gd name="T5" fmla="*/ 6 h 12"/>
                <a:gd name="T6" fmla="*/ 7 w 12"/>
                <a:gd name="T7" fmla="*/ 1 h 12"/>
                <a:gd name="T8" fmla="*/ 1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" y="6"/>
                  </a:moveTo>
                  <a:cubicBezTo>
                    <a:pt x="0" y="9"/>
                    <a:pt x="3" y="11"/>
                    <a:pt x="6" y="11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10" y="1"/>
                    <a:pt x="7" y="1"/>
                  </a:cubicBezTo>
                  <a:cubicBezTo>
                    <a:pt x="3" y="0"/>
                    <a:pt x="1" y="3"/>
                    <a:pt x="1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Freeform 224">
              <a:extLst>
                <a:ext uri="{FF2B5EF4-FFF2-40B4-BE49-F238E27FC236}">
                  <a16:creationId xmlns:a16="http://schemas.microsoft.com/office/drawing/2014/main" id="{59F79DCF-9782-2E25-1E50-51983E4C3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185"/>
              <a:ext cx="38" cy="15"/>
            </a:xfrm>
            <a:custGeom>
              <a:avLst/>
              <a:gdLst>
                <a:gd name="T0" fmla="*/ 0 w 23"/>
                <a:gd name="T1" fmla="*/ 7 h 9"/>
                <a:gd name="T2" fmla="*/ 12 w 23"/>
                <a:gd name="T3" fmla="*/ 5 h 9"/>
                <a:gd name="T4" fmla="*/ 23 w 23"/>
                <a:gd name="T5" fmla="*/ 8 h 9"/>
                <a:gd name="T6" fmla="*/ 21 w 23"/>
                <a:gd name="T7" fmla="*/ 4 h 9"/>
                <a:gd name="T8" fmla="*/ 12 w 23"/>
                <a:gd name="T9" fmla="*/ 0 h 9"/>
                <a:gd name="T10" fmla="*/ 3 w 23"/>
                <a:gd name="T11" fmla="*/ 3 h 9"/>
                <a:gd name="T12" fmla="*/ 0 w 23"/>
                <a:gd name="T13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9">
                  <a:moveTo>
                    <a:pt x="0" y="7"/>
                  </a:moveTo>
                  <a:cubicBezTo>
                    <a:pt x="1" y="8"/>
                    <a:pt x="5" y="4"/>
                    <a:pt x="12" y="5"/>
                  </a:cubicBezTo>
                  <a:cubicBezTo>
                    <a:pt x="18" y="5"/>
                    <a:pt x="22" y="9"/>
                    <a:pt x="23" y="8"/>
                  </a:cubicBezTo>
                  <a:cubicBezTo>
                    <a:pt x="23" y="8"/>
                    <a:pt x="22" y="6"/>
                    <a:pt x="21" y="4"/>
                  </a:cubicBezTo>
                  <a:cubicBezTo>
                    <a:pt x="19" y="3"/>
                    <a:pt x="16" y="1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1" y="5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Freeform 225">
              <a:extLst>
                <a:ext uri="{FF2B5EF4-FFF2-40B4-BE49-F238E27FC236}">
                  <a16:creationId xmlns:a16="http://schemas.microsoft.com/office/drawing/2014/main" id="{9C5253ED-218C-F1A2-87A6-D7C53BFF8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8" y="1211"/>
              <a:ext cx="19" cy="19"/>
            </a:xfrm>
            <a:custGeom>
              <a:avLst/>
              <a:gdLst>
                <a:gd name="T0" fmla="*/ 0 w 12"/>
                <a:gd name="T1" fmla="*/ 5 h 11"/>
                <a:gd name="T2" fmla="*/ 6 w 12"/>
                <a:gd name="T3" fmla="*/ 11 h 11"/>
                <a:gd name="T4" fmla="*/ 12 w 12"/>
                <a:gd name="T5" fmla="*/ 6 h 11"/>
                <a:gd name="T6" fmla="*/ 6 w 12"/>
                <a:gd name="T7" fmla="*/ 0 h 11"/>
                <a:gd name="T8" fmla="*/ 0 w 12"/>
                <a:gd name="T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0" y="5"/>
                  </a:moveTo>
                  <a:cubicBezTo>
                    <a:pt x="0" y="8"/>
                    <a:pt x="2" y="11"/>
                    <a:pt x="6" y="11"/>
                  </a:cubicBezTo>
                  <a:cubicBezTo>
                    <a:pt x="9" y="11"/>
                    <a:pt x="11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Freeform 226">
              <a:extLst>
                <a:ext uri="{FF2B5EF4-FFF2-40B4-BE49-F238E27FC236}">
                  <a16:creationId xmlns:a16="http://schemas.microsoft.com/office/drawing/2014/main" id="{5D51B2C0-6212-5DEE-B65D-79E78B065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" y="1187"/>
              <a:ext cx="41" cy="15"/>
            </a:xfrm>
            <a:custGeom>
              <a:avLst/>
              <a:gdLst>
                <a:gd name="T0" fmla="*/ 0 w 25"/>
                <a:gd name="T1" fmla="*/ 8 h 9"/>
                <a:gd name="T2" fmla="*/ 12 w 25"/>
                <a:gd name="T3" fmla="*/ 4 h 9"/>
                <a:gd name="T4" fmla="*/ 25 w 25"/>
                <a:gd name="T5" fmla="*/ 6 h 9"/>
                <a:gd name="T6" fmla="*/ 22 w 25"/>
                <a:gd name="T7" fmla="*/ 3 h 9"/>
                <a:gd name="T8" fmla="*/ 12 w 25"/>
                <a:gd name="T9" fmla="*/ 0 h 9"/>
                <a:gd name="T10" fmla="*/ 3 w 25"/>
                <a:gd name="T11" fmla="*/ 4 h 9"/>
                <a:gd name="T12" fmla="*/ 0 w 25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9">
                  <a:moveTo>
                    <a:pt x="0" y="8"/>
                  </a:moveTo>
                  <a:cubicBezTo>
                    <a:pt x="1" y="9"/>
                    <a:pt x="6" y="5"/>
                    <a:pt x="12" y="4"/>
                  </a:cubicBezTo>
                  <a:cubicBezTo>
                    <a:pt x="19" y="4"/>
                    <a:pt x="24" y="7"/>
                    <a:pt x="25" y="6"/>
                  </a:cubicBezTo>
                  <a:cubicBezTo>
                    <a:pt x="25" y="6"/>
                    <a:pt x="24" y="4"/>
                    <a:pt x="22" y="3"/>
                  </a:cubicBezTo>
                  <a:cubicBezTo>
                    <a:pt x="20" y="1"/>
                    <a:pt x="16" y="0"/>
                    <a:pt x="12" y="0"/>
                  </a:cubicBezTo>
                  <a:cubicBezTo>
                    <a:pt x="8" y="0"/>
                    <a:pt x="5" y="2"/>
                    <a:pt x="3" y="4"/>
                  </a:cubicBezTo>
                  <a:cubicBezTo>
                    <a:pt x="1" y="6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Freeform 227">
              <a:extLst>
                <a:ext uri="{FF2B5EF4-FFF2-40B4-BE49-F238E27FC236}">
                  <a16:creationId xmlns:a16="http://schemas.microsoft.com/office/drawing/2014/main" id="{4306F756-8766-F763-2CB7-E548A2AEE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" y="1358"/>
              <a:ext cx="89" cy="51"/>
            </a:xfrm>
            <a:custGeom>
              <a:avLst/>
              <a:gdLst>
                <a:gd name="T0" fmla="*/ 0 w 54"/>
                <a:gd name="T1" fmla="*/ 15 h 31"/>
                <a:gd name="T2" fmla="*/ 54 w 54"/>
                <a:gd name="T3" fmla="*/ 0 h 31"/>
                <a:gd name="T4" fmla="*/ 0 w 54"/>
                <a:gd name="T5" fmla="*/ 27 h 31"/>
                <a:gd name="T6" fmla="*/ 0 w 54"/>
                <a:gd name="T7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31">
                  <a:moveTo>
                    <a:pt x="0" y="15"/>
                  </a:moveTo>
                  <a:cubicBezTo>
                    <a:pt x="0" y="15"/>
                    <a:pt x="24" y="17"/>
                    <a:pt x="54" y="0"/>
                  </a:cubicBezTo>
                  <a:cubicBezTo>
                    <a:pt x="54" y="0"/>
                    <a:pt x="45" y="31"/>
                    <a:pt x="0" y="27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Freeform 228">
              <a:extLst>
                <a:ext uri="{FF2B5EF4-FFF2-40B4-BE49-F238E27FC236}">
                  <a16:creationId xmlns:a16="http://schemas.microsoft.com/office/drawing/2014/main" id="{A5C83332-0D6E-7272-5777-6E47DF367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" y="1282"/>
              <a:ext cx="33" cy="23"/>
            </a:xfrm>
            <a:custGeom>
              <a:avLst/>
              <a:gdLst>
                <a:gd name="T0" fmla="*/ 1 w 20"/>
                <a:gd name="T1" fmla="*/ 4 h 14"/>
                <a:gd name="T2" fmla="*/ 11 w 20"/>
                <a:gd name="T3" fmla="*/ 0 h 14"/>
                <a:gd name="T4" fmla="*/ 18 w 20"/>
                <a:gd name="T5" fmla="*/ 4 h 14"/>
                <a:gd name="T6" fmla="*/ 19 w 20"/>
                <a:gd name="T7" fmla="*/ 11 h 14"/>
                <a:gd name="T8" fmla="*/ 11 w 20"/>
                <a:gd name="T9" fmla="*/ 13 h 14"/>
                <a:gd name="T10" fmla="*/ 3 w 20"/>
                <a:gd name="T11" fmla="*/ 8 h 14"/>
                <a:gd name="T12" fmla="*/ 1 w 20"/>
                <a:gd name="T13" fmla="*/ 7 h 14"/>
                <a:gd name="T14" fmla="*/ 1 w 20"/>
                <a:gd name="T1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4">
                  <a:moveTo>
                    <a:pt x="1" y="4"/>
                  </a:moveTo>
                  <a:cubicBezTo>
                    <a:pt x="3" y="1"/>
                    <a:pt x="7" y="0"/>
                    <a:pt x="11" y="0"/>
                  </a:cubicBezTo>
                  <a:cubicBezTo>
                    <a:pt x="14" y="0"/>
                    <a:pt x="17" y="2"/>
                    <a:pt x="18" y="4"/>
                  </a:cubicBezTo>
                  <a:cubicBezTo>
                    <a:pt x="20" y="6"/>
                    <a:pt x="20" y="9"/>
                    <a:pt x="19" y="11"/>
                  </a:cubicBezTo>
                  <a:cubicBezTo>
                    <a:pt x="17" y="13"/>
                    <a:pt x="14" y="14"/>
                    <a:pt x="11" y="13"/>
                  </a:cubicBezTo>
                  <a:cubicBezTo>
                    <a:pt x="8" y="12"/>
                    <a:pt x="5" y="10"/>
                    <a:pt x="3" y="8"/>
                  </a:cubicBezTo>
                  <a:cubicBezTo>
                    <a:pt x="2" y="8"/>
                    <a:pt x="1" y="7"/>
                    <a:pt x="1" y="7"/>
                  </a:cubicBezTo>
                  <a:cubicBezTo>
                    <a:pt x="1" y="6"/>
                    <a:pt x="0" y="5"/>
                    <a:pt x="1" y="4"/>
                  </a:cubicBezTo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Freeform 229">
              <a:extLst>
                <a:ext uri="{FF2B5EF4-FFF2-40B4-BE49-F238E27FC236}">
                  <a16:creationId xmlns:a16="http://schemas.microsoft.com/office/drawing/2014/main" id="{C3194D0B-5BEF-6940-7006-D69D605DB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1" y="1272"/>
              <a:ext cx="35" cy="28"/>
            </a:xfrm>
            <a:custGeom>
              <a:avLst/>
              <a:gdLst>
                <a:gd name="T0" fmla="*/ 20 w 21"/>
                <a:gd name="T1" fmla="*/ 0 h 17"/>
                <a:gd name="T2" fmla="*/ 13 w 21"/>
                <a:gd name="T3" fmla="*/ 11 h 17"/>
                <a:gd name="T4" fmla="*/ 0 w 21"/>
                <a:gd name="T5" fmla="*/ 16 h 17"/>
                <a:gd name="T6" fmla="*/ 5 w 21"/>
                <a:gd name="T7" fmla="*/ 17 h 17"/>
                <a:gd name="T8" fmla="*/ 15 w 21"/>
                <a:gd name="T9" fmla="*/ 14 h 17"/>
                <a:gd name="T10" fmla="*/ 21 w 21"/>
                <a:gd name="T11" fmla="*/ 4 h 17"/>
                <a:gd name="T12" fmla="*/ 20 w 21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7">
                  <a:moveTo>
                    <a:pt x="20" y="0"/>
                  </a:moveTo>
                  <a:cubicBezTo>
                    <a:pt x="19" y="0"/>
                    <a:pt x="19" y="6"/>
                    <a:pt x="13" y="11"/>
                  </a:cubicBezTo>
                  <a:cubicBezTo>
                    <a:pt x="7" y="16"/>
                    <a:pt x="0" y="15"/>
                    <a:pt x="0" y="16"/>
                  </a:cubicBezTo>
                  <a:cubicBezTo>
                    <a:pt x="0" y="16"/>
                    <a:pt x="2" y="17"/>
                    <a:pt x="5" y="17"/>
                  </a:cubicBezTo>
                  <a:cubicBezTo>
                    <a:pt x="8" y="17"/>
                    <a:pt x="12" y="16"/>
                    <a:pt x="15" y="14"/>
                  </a:cubicBezTo>
                  <a:cubicBezTo>
                    <a:pt x="19" y="11"/>
                    <a:pt x="21" y="7"/>
                    <a:pt x="21" y="4"/>
                  </a:cubicBezTo>
                  <a:cubicBezTo>
                    <a:pt x="21" y="1"/>
                    <a:pt x="20" y="0"/>
                    <a:pt x="2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Freeform 230">
              <a:extLst>
                <a:ext uri="{FF2B5EF4-FFF2-40B4-BE49-F238E27FC236}">
                  <a16:creationId xmlns:a16="http://schemas.microsoft.com/office/drawing/2014/main" id="{5ACA4E5B-2437-E3B7-3DE7-025A6020D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8" y="1157"/>
              <a:ext cx="47" cy="15"/>
            </a:xfrm>
            <a:custGeom>
              <a:avLst/>
              <a:gdLst>
                <a:gd name="T0" fmla="*/ 0 w 29"/>
                <a:gd name="T1" fmla="*/ 4 h 9"/>
                <a:gd name="T2" fmla="*/ 14 w 29"/>
                <a:gd name="T3" fmla="*/ 6 h 9"/>
                <a:gd name="T4" fmla="*/ 28 w 29"/>
                <a:gd name="T5" fmla="*/ 8 h 9"/>
                <a:gd name="T6" fmla="*/ 25 w 29"/>
                <a:gd name="T7" fmla="*/ 4 h 9"/>
                <a:gd name="T8" fmla="*/ 15 w 29"/>
                <a:gd name="T9" fmla="*/ 0 h 9"/>
                <a:gd name="T10" fmla="*/ 4 w 29"/>
                <a:gd name="T11" fmla="*/ 1 h 9"/>
                <a:gd name="T12" fmla="*/ 0 w 29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0" y="4"/>
                  </a:moveTo>
                  <a:cubicBezTo>
                    <a:pt x="1" y="6"/>
                    <a:pt x="7" y="5"/>
                    <a:pt x="14" y="6"/>
                  </a:cubicBezTo>
                  <a:cubicBezTo>
                    <a:pt x="21" y="7"/>
                    <a:pt x="27" y="9"/>
                    <a:pt x="28" y="8"/>
                  </a:cubicBezTo>
                  <a:cubicBezTo>
                    <a:pt x="29" y="7"/>
                    <a:pt x="28" y="6"/>
                    <a:pt x="25" y="4"/>
                  </a:cubicBezTo>
                  <a:cubicBezTo>
                    <a:pt x="23" y="2"/>
                    <a:pt x="19" y="1"/>
                    <a:pt x="15" y="0"/>
                  </a:cubicBezTo>
                  <a:cubicBezTo>
                    <a:pt x="11" y="0"/>
                    <a:pt x="7" y="0"/>
                    <a:pt x="4" y="1"/>
                  </a:cubicBezTo>
                  <a:cubicBezTo>
                    <a:pt x="1" y="2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Freeform 231">
              <a:extLst>
                <a:ext uri="{FF2B5EF4-FFF2-40B4-BE49-F238E27FC236}">
                  <a16:creationId xmlns:a16="http://schemas.microsoft.com/office/drawing/2014/main" id="{1DB81D01-DE29-7C3C-FB0D-308A12FA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152"/>
              <a:ext cx="36" cy="15"/>
            </a:xfrm>
            <a:custGeom>
              <a:avLst/>
              <a:gdLst>
                <a:gd name="T0" fmla="*/ 1 w 22"/>
                <a:gd name="T1" fmla="*/ 7 h 9"/>
                <a:gd name="T2" fmla="*/ 11 w 22"/>
                <a:gd name="T3" fmla="*/ 7 h 9"/>
                <a:gd name="T4" fmla="*/ 22 w 22"/>
                <a:gd name="T5" fmla="*/ 5 h 9"/>
                <a:gd name="T6" fmla="*/ 19 w 22"/>
                <a:gd name="T7" fmla="*/ 2 h 9"/>
                <a:gd name="T8" fmla="*/ 11 w 22"/>
                <a:gd name="T9" fmla="*/ 0 h 9"/>
                <a:gd name="T10" fmla="*/ 2 w 22"/>
                <a:gd name="T11" fmla="*/ 4 h 9"/>
                <a:gd name="T12" fmla="*/ 1 w 22"/>
                <a:gd name="T13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">
                  <a:moveTo>
                    <a:pt x="1" y="7"/>
                  </a:moveTo>
                  <a:cubicBezTo>
                    <a:pt x="2" y="9"/>
                    <a:pt x="6" y="7"/>
                    <a:pt x="11" y="7"/>
                  </a:cubicBezTo>
                  <a:cubicBezTo>
                    <a:pt x="16" y="6"/>
                    <a:pt x="21" y="7"/>
                    <a:pt x="22" y="5"/>
                  </a:cubicBezTo>
                  <a:cubicBezTo>
                    <a:pt x="22" y="5"/>
                    <a:pt x="21" y="3"/>
                    <a:pt x="19" y="2"/>
                  </a:cubicBezTo>
                  <a:cubicBezTo>
                    <a:pt x="17" y="1"/>
                    <a:pt x="14" y="0"/>
                    <a:pt x="11" y="0"/>
                  </a:cubicBezTo>
                  <a:cubicBezTo>
                    <a:pt x="7" y="1"/>
                    <a:pt x="4" y="2"/>
                    <a:pt x="2" y="4"/>
                  </a:cubicBezTo>
                  <a:cubicBezTo>
                    <a:pt x="1" y="5"/>
                    <a:pt x="0" y="7"/>
                    <a:pt x="1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Freeform 232">
              <a:extLst>
                <a:ext uri="{FF2B5EF4-FFF2-40B4-BE49-F238E27FC236}">
                  <a16:creationId xmlns:a16="http://schemas.microsoft.com/office/drawing/2014/main" id="{92EAF46E-738D-BC8C-FA03-969A57B9B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" y="1029"/>
              <a:ext cx="180" cy="209"/>
            </a:xfrm>
            <a:custGeom>
              <a:avLst/>
              <a:gdLst>
                <a:gd name="T0" fmla="*/ 8 w 109"/>
                <a:gd name="T1" fmla="*/ 10 h 127"/>
                <a:gd name="T2" fmla="*/ 25 w 109"/>
                <a:gd name="T3" fmla="*/ 2 h 127"/>
                <a:gd name="T4" fmla="*/ 96 w 109"/>
                <a:gd name="T5" fmla="*/ 43 h 127"/>
                <a:gd name="T6" fmla="*/ 95 w 109"/>
                <a:gd name="T7" fmla="*/ 125 h 127"/>
                <a:gd name="T8" fmla="*/ 84 w 109"/>
                <a:gd name="T9" fmla="*/ 127 h 127"/>
                <a:gd name="T10" fmla="*/ 4 w 109"/>
                <a:gd name="T11" fmla="*/ 27 h 127"/>
                <a:gd name="T12" fmla="*/ 8 w 109"/>
                <a:gd name="T13" fmla="*/ 1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127">
                  <a:moveTo>
                    <a:pt x="8" y="10"/>
                  </a:moveTo>
                  <a:cubicBezTo>
                    <a:pt x="12" y="5"/>
                    <a:pt x="18" y="3"/>
                    <a:pt x="25" y="2"/>
                  </a:cubicBezTo>
                  <a:cubicBezTo>
                    <a:pt x="52" y="0"/>
                    <a:pt x="82" y="18"/>
                    <a:pt x="96" y="43"/>
                  </a:cubicBezTo>
                  <a:cubicBezTo>
                    <a:pt x="109" y="67"/>
                    <a:pt x="108" y="101"/>
                    <a:pt x="95" y="125"/>
                  </a:cubicBezTo>
                  <a:cubicBezTo>
                    <a:pt x="84" y="127"/>
                    <a:pt x="84" y="127"/>
                    <a:pt x="84" y="127"/>
                  </a:cubicBezTo>
                  <a:cubicBezTo>
                    <a:pt x="63" y="124"/>
                    <a:pt x="31" y="62"/>
                    <a:pt x="4" y="27"/>
                  </a:cubicBezTo>
                  <a:cubicBezTo>
                    <a:pt x="0" y="22"/>
                    <a:pt x="5" y="15"/>
                    <a:pt x="8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Freeform 233">
              <a:extLst>
                <a:ext uri="{FF2B5EF4-FFF2-40B4-BE49-F238E27FC236}">
                  <a16:creationId xmlns:a16="http://schemas.microsoft.com/office/drawing/2014/main" id="{63F7F002-E5E7-A9EF-817E-1F0546867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7" y="1024"/>
              <a:ext cx="129" cy="154"/>
            </a:xfrm>
            <a:custGeom>
              <a:avLst/>
              <a:gdLst>
                <a:gd name="T0" fmla="*/ 20 w 78"/>
                <a:gd name="T1" fmla="*/ 27 h 94"/>
                <a:gd name="T2" fmla="*/ 75 w 78"/>
                <a:gd name="T3" fmla="*/ 11 h 94"/>
                <a:gd name="T4" fmla="*/ 64 w 78"/>
                <a:gd name="T5" fmla="*/ 31 h 94"/>
                <a:gd name="T6" fmla="*/ 41 w 78"/>
                <a:gd name="T7" fmla="*/ 47 h 94"/>
                <a:gd name="T8" fmla="*/ 11 w 78"/>
                <a:gd name="T9" fmla="*/ 93 h 94"/>
                <a:gd name="T10" fmla="*/ 9 w 78"/>
                <a:gd name="T11" fmla="*/ 94 h 94"/>
                <a:gd name="T12" fmla="*/ 3 w 78"/>
                <a:gd name="T13" fmla="*/ 75 h 94"/>
                <a:gd name="T14" fmla="*/ 20 w 78"/>
                <a:gd name="T15" fmla="*/ 2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94">
                  <a:moveTo>
                    <a:pt x="20" y="27"/>
                  </a:moveTo>
                  <a:cubicBezTo>
                    <a:pt x="32" y="15"/>
                    <a:pt x="52" y="0"/>
                    <a:pt x="75" y="11"/>
                  </a:cubicBezTo>
                  <a:cubicBezTo>
                    <a:pt x="78" y="18"/>
                    <a:pt x="70" y="26"/>
                    <a:pt x="64" y="31"/>
                  </a:cubicBezTo>
                  <a:cubicBezTo>
                    <a:pt x="55" y="38"/>
                    <a:pt x="47" y="42"/>
                    <a:pt x="41" y="47"/>
                  </a:cubicBezTo>
                  <a:cubicBezTo>
                    <a:pt x="29" y="57"/>
                    <a:pt x="13" y="73"/>
                    <a:pt x="11" y="93"/>
                  </a:cubicBezTo>
                  <a:cubicBezTo>
                    <a:pt x="11" y="94"/>
                    <a:pt x="10" y="94"/>
                    <a:pt x="9" y="94"/>
                  </a:cubicBezTo>
                  <a:cubicBezTo>
                    <a:pt x="7" y="94"/>
                    <a:pt x="4" y="85"/>
                    <a:pt x="3" y="75"/>
                  </a:cubicBezTo>
                  <a:cubicBezTo>
                    <a:pt x="0" y="52"/>
                    <a:pt x="7" y="39"/>
                    <a:pt x="20" y="2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Freeform 234">
              <a:extLst>
                <a:ext uri="{FF2B5EF4-FFF2-40B4-BE49-F238E27FC236}">
                  <a16:creationId xmlns:a16="http://schemas.microsoft.com/office/drawing/2014/main" id="{109B45C4-76FE-0942-1364-EAB0CEE09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" y="1202"/>
              <a:ext cx="44" cy="87"/>
            </a:xfrm>
            <a:custGeom>
              <a:avLst/>
              <a:gdLst>
                <a:gd name="T0" fmla="*/ 0 w 27"/>
                <a:gd name="T1" fmla="*/ 9 h 53"/>
                <a:gd name="T2" fmla="*/ 27 w 27"/>
                <a:gd name="T3" fmla="*/ 27 h 53"/>
                <a:gd name="T4" fmla="*/ 0 w 27"/>
                <a:gd name="T5" fmla="*/ 47 h 53"/>
                <a:gd name="T6" fmla="*/ 0 w 27"/>
                <a:gd name="T7" fmla="*/ 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53">
                  <a:moveTo>
                    <a:pt x="0" y="9"/>
                  </a:moveTo>
                  <a:cubicBezTo>
                    <a:pt x="1" y="8"/>
                    <a:pt x="27" y="0"/>
                    <a:pt x="27" y="27"/>
                  </a:cubicBezTo>
                  <a:cubicBezTo>
                    <a:pt x="26" y="53"/>
                    <a:pt x="0" y="48"/>
                    <a:pt x="0" y="47"/>
                  </a:cubicBezTo>
                  <a:cubicBezTo>
                    <a:pt x="0" y="46"/>
                    <a:pt x="0" y="9"/>
                    <a:pt x="0" y="9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Freeform 235">
              <a:extLst>
                <a:ext uri="{FF2B5EF4-FFF2-40B4-BE49-F238E27FC236}">
                  <a16:creationId xmlns:a16="http://schemas.microsoft.com/office/drawing/2014/main" id="{41AA12F9-882A-BC62-A20E-1C437B25E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" y="1228"/>
              <a:ext cx="20" cy="38"/>
            </a:xfrm>
            <a:custGeom>
              <a:avLst/>
              <a:gdLst>
                <a:gd name="T0" fmla="*/ 0 w 12"/>
                <a:gd name="T1" fmla="*/ 21 h 23"/>
                <a:gd name="T2" fmla="*/ 1 w 12"/>
                <a:gd name="T3" fmla="*/ 22 h 23"/>
                <a:gd name="T4" fmla="*/ 5 w 12"/>
                <a:gd name="T5" fmla="*/ 22 h 23"/>
                <a:gd name="T6" fmla="*/ 10 w 12"/>
                <a:gd name="T7" fmla="*/ 11 h 23"/>
                <a:gd name="T8" fmla="*/ 9 w 12"/>
                <a:gd name="T9" fmla="*/ 5 h 23"/>
                <a:gd name="T10" fmla="*/ 5 w 12"/>
                <a:gd name="T11" fmla="*/ 1 h 23"/>
                <a:gd name="T12" fmla="*/ 3 w 12"/>
                <a:gd name="T13" fmla="*/ 2 h 23"/>
                <a:gd name="T14" fmla="*/ 2 w 12"/>
                <a:gd name="T15" fmla="*/ 4 h 23"/>
                <a:gd name="T16" fmla="*/ 2 w 12"/>
                <a:gd name="T17" fmla="*/ 2 h 23"/>
                <a:gd name="T18" fmla="*/ 3 w 12"/>
                <a:gd name="T19" fmla="*/ 1 h 23"/>
                <a:gd name="T20" fmla="*/ 6 w 12"/>
                <a:gd name="T21" fmla="*/ 0 h 23"/>
                <a:gd name="T22" fmla="*/ 10 w 12"/>
                <a:gd name="T23" fmla="*/ 4 h 23"/>
                <a:gd name="T24" fmla="*/ 12 w 12"/>
                <a:gd name="T25" fmla="*/ 11 h 23"/>
                <a:gd name="T26" fmla="*/ 5 w 12"/>
                <a:gd name="T27" fmla="*/ 23 h 23"/>
                <a:gd name="T28" fmla="*/ 1 w 12"/>
                <a:gd name="T29" fmla="*/ 22 h 23"/>
                <a:gd name="T30" fmla="*/ 0 w 12"/>
                <a:gd name="T31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23">
                  <a:moveTo>
                    <a:pt x="0" y="21"/>
                  </a:moveTo>
                  <a:cubicBezTo>
                    <a:pt x="0" y="21"/>
                    <a:pt x="0" y="21"/>
                    <a:pt x="1" y="22"/>
                  </a:cubicBezTo>
                  <a:cubicBezTo>
                    <a:pt x="2" y="22"/>
                    <a:pt x="3" y="22"/>
                    <a:pt x="5" y="22"/>
                  </a:cubicBezTo>
                  <a:cubicBezTo>
                    <a:pt x="7" y="21"/>
                    <a:pt x="10" y="16"/>
                    <a:pt x="10" y="11"/>
                  </a:cubicBezTo>
                  <a:cubicBezTo>
                    <a:pt x="10" y="9"/>
                    <a:pt x="10" y="7"/>
                    <a:pt x="9" y="5"/>
                  </a:cubicBezTo>
                  <a:cubicBezTo>
                    <a:pt x="8" y="3"/>
                    <a:pt x="7" y="1"/>
                    <a:pt x="5" y="1"/>
                  </a:cubicBezTo>
                  <a:cubicBezTo>
                    <a:pt x="4" y="1"/>
                    <a:pt x="3" y="2"/>
                    <a:pt x="3" y="2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3"/>
                    <a:pt x="2" y="2"/>
                  </a:cubicBezTo>
                  <a:cubicBezTo>
                    <a:pt x="2" y="2"/>
                    <a:pt x="2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9" y="2"/>
                    <a:pt x="10" y="4"/>
                  </a:cubicBezTo>
                  <a:cubicBezTo>
                    <a:pt x="11" y="6"/>
                    <a:pt x="12" y="9"/>
                    <a:pt x="12" y="11"/>
                  </a:cubicBezTo>
                  <a:cubicBezTo>
                    <a:pt x="12" y="17"/>
                    <a:pt x="9" y="22"/>
                    <a:pt x="5" y="23"/>
                  </a:cubicBezTo>
                  <a:cubicBezTo>
                    <a:pt x="3" y="23"/>
                    <a:pt x="2" y="23"/>
                    <a:pt x="1" y="22"/>
                  </a:cubicBezTo>
                  <a:cubicBezTo>
                    <a:pt x="0" y="22"/>
                    <a:pt x="0" y="21"/>
                    <a:pt x="0" y="2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Freeform 236">
              <a:extLst>
                <a:ext uri="{FF2B5EF4-FFF2-40B4-BE49-F238E27FC236}">
                  <a16:creationId xmlns:a16="http://schemas.microsoft.com/office/drawing/2014/main" id="{47EEDDCA-B23D-478F-B530-CDA0C5E75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0" y="1211"/>
              <a:ext cx="168" cy="256"/>
            </a:xfrm>
            <a:custGeom>
              <a:avLst/>
              <a:gdLst>
                <a:gd name="T0" fmla="*/ 102 w 102"/>
                <a:gd name="T1" fmla="*/ 135 h 155"/>
                <a:gd name="T2" fmla="*/ 63 w 102"/>
                <a:gd name="T3" fmla="*/ 155 h 155"/>
                <a:gd name="T4" fmla="*/ 47 w 102"/>
                <a:gd name="T5" fmla="*/ 128 h 155"/>
                <a:gd name="T6" fmla="*/ 26 w 102"/>
                <a:gd name="T7" fmla="*/ 114 h 155"/>
                <a:gd name="T8" fmla="*/ 12 w 102"/>
                <a:gd name="T9" fmla="*/ 98 h 155"/>
                <a:gd name="T10" fmla="*/ 9 w 102"/>
                <a:gd name="T11" fmla="*/ 85 h 155"/>
                <a:gd name="T12" fmla="*/ 10 w 102"/>
                <a:gd name="T13" fmla="*/ 83 h 155"/>
                <a:gd name="T14" fmla="*/ 14 w 102"/>
                <a:gd name="T15" fmla="*/ 76 h 155"/>
                <a:gd name="T16" fmla="*/ 11 w 102"/>
                <a:gd name="T17" fmla="*/ 60 h 155"/>
                <a:gd name="T18" fmla="*/ 16 w 102"/>
                <a:gd name="T19" fmla="*/ 42 h 155"/>
                <a:gd name="T20" fmla="*/ 1 w 102"/>
                <a:gd name="T21" fmla="*/ 11 h 155"/>
                <a:gd name="T22" fmla="*/ 2 w 102"/>
                <a:gd name="T23" fmla="*/ 2 h 155"/>
                <a:gd name="T24" fmla="*/ 7 w 102"/>
                <a:gd name="T25" fmla="*/ 2 h 155"/>
                <a:gd name="T26" fmla="*/ 27 w 102"/>
                <a:gd name="T27" fmla="*/ 30 h 155"/>
                <a:gd name="T28" fmla="*/ 32 w 102"/>
                <a:gd name="T29" fmla="*/ 36 h 155"/>
                <a:gd name="T30" fmla="*/ 39 w 102"/>
                <a:gd name="T31" fmla="*/ 37 h 155"/>
                <a:gd name="T32" fmla="*/ 41 w 102"/>
                <a:gd name="T33" fmla="*/ 25 h 155"/>
                <a:gd name="T34" fmla="*/ 61 w 102"/>
                <a:gd name="T35" fmla="*/ 39 h 155"/>
                <a:gd name="T36" fmla="*/ 78 w 102"/>
                <a:gd name="T37" fmla="*/ 62 h 155"/>
                <a:gd name="T38" fmla="*/ 85 w 102"/>
                <a:gd name="T39" fmla="*/ 104 h 155"/>
                <a:gd name="T40" fmla="*/ 102 w 102"/>
                <a:gd name="T41" fmla="*/ 13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2" h="155">
                  <a:moveTo>
                    <a:pt x="102" y="135"/>
                  </a:moveTo>
                  <a:cubicBezTo>
                    <a:pt x="63" y="155"/>
                    <a:pt x="63" y="155"/>
                    <a:pt x="63" y="155"/>
                  </a:cubicBezTo>
                  <a:cubicBezTo>
                    <a:pt x="47" y="128"/>
                    <a:pt x="47" y="128"/>
                    <a:pt x="47" y="128"/>
                  </a:cubicBezTo>
                  <a:cubicBezTo>
                    <a:pt x="38" y="123"/>
                    <a:pt x="29" y="117"/>
                    <a:pt x="26" y="114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9" y="94"/>
                    <a:pt x="8" y="90"/>
                    <a:pt x="9" y="85"/>
                  </a:cubicBezTo>
                  <a:cubicBezTo>
                    <a:pt x="9" y="84"/>
                    <a:pt x="9" y="83"/>
                    <a:pt x="10" y="83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2" y="66"/>
                    <a:pt x="11" y="60"/>
                  </a:cubicBezTo>
                  <a:cubicBezTo>
                    <a:pt x="11" y="54"/>
                    <a:pt x="16" y="42"/>
                    <a:pt x="16" y="42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3" y="1"/>
                    <a:pt x="5" y="0"/>
                    <a:pt x="7" y="2"/>
                  </a:cubicBezTo>
                  <a:cubicBezTo>
                    <a:pt x="12" y="5"/>
                    <a:pt x="27" y="30"/>
                    <a:pt x="27" y="30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7"/>
                    <a:pt x="37" y="27"/>
                    <a:pt x="41" y="25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81" y="96"/>
                    <a:pt x="85" y="104"/>
                  </a:cubicBezTo>
                  <a:cubicBezTo>
                    <a:pt x="90" y="113"/>
                    <a:pt x="102" y="135"/>
                    <a:pt x="102" y="135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Freeform 237">
              <a:extLst>
                <a:ext uri="{FF2B5EF4-FFF2-40B4-BE49-F238E27FC236}">
                  <a16:creationId xmlns:a16="http://schemas.microsoft.com/office/drawing/2014/main" id="{0437EFC7-2A0C-EBF9-0424-D2D817973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5" y="1281"/>
              <a:ext cx="19" cy="41"/>
            </a:xfrm>
            <a:custGeom>
              <a:avLst/>
              <a:gdLst>
                <a:gd name="T0" fmla="*/ 11 w 12"/>
                <a:gd name="T1" fmla="*/ 25 h 25"/>
                <a:gd name="T2" fmla="*/ 4 w 12"/>
                <a:gd name="T3" fmla="*/ 13 h 25"/>
                <a:gd name="T4" fmla="*/ 1 w 12"/>
                <a:gd name="T5" fmla="*/ 0 h 25"/>
                <a:gd name="T6" fmla="*/ 6 w 12"/>
                <a:gd name="T7" fmla="*/ 13 h 25"/>
                <a:gd name="T8" fmla="*/ 11 w 12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5">
                  <a:moveTo>
                    <a:pt x="11" y="25"/>
                  </a:moveTo>
                  <a:cubicBezTo>
                    <a:pt x="11" y="25"/>
                    <a:pt x="7" y="20"/>
                    <a:pt x="4" y="13"/>
                  </a:cubicBezTo>
                  <a:cubicBezTo>
                    <a:pt x="1" y="7"/>
                    <a:pt x="0" y="0"/>
                    <a:pt x="1" y="0"/>
                  </a:cubicBezTo>
                  <a:cubicBezTo>
                    <a:pt x="1" y="0"/>
                    <a:pt x="3" y="6"/>
                    <a:pt x="6" y="13"/>
                  </a:cubicBezTo>
                  <a:cubicBezTo>
                    <a:pt x="9" y="20"/>
                    <a:pt x="12" y="25"/>
                    <a:pt x="11" y="25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Freeform 238">
              <a:extLst>
                <a:ext uri="{FF2B5EF4-FFF2-40B4-BE49-F238E27FC236}">
                  <a16:creationId xmlns:a16="http://schemas.microsoft.com/office/drawing/2014/main" id="{C12267E2-2C02-6646-E90F-E49381569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" y="1325"/>
              <a:ext cx="8" cy="23"/>
            </a:xfrm>
            <a:custGeom>
              <a:avLst/>
              <a:gdLst>
                <a:gd name="T0" fmla="*/ 5 w 5"/>
                <a:gd name="T1" fmla="*/ 14 h 14"/>
                <a:gd name="T2" fmla="*/ 2 w 5"/>
                <a:gd name="T3" fmla="*/ 7 h 14"/>
                <a:gd name="T4" fmla="*/ 0 w 5"/>
                <a:gd name="T5" fmla="*/ 0 h 14"/>
                <a:gd name="T6" fmla="*/ 3 w 5"/>
                <a:gd name="T7" fmla="*/ 7 h 14"/>
                <a:gd name="T8" fmla="*/ 5 w 5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4">
                  <a:moveTo>
                    <a:pt x="5" y="14"/>
                  </a:moveTo>
                  <a:cubicBezTo>
                    <a:pt x="5" y="14"/>
                    <a:pt x="3" y="11"/>
                    <a:pt x="2" y="7"/>
                  </a:cubicBezTo>
                  <a:cubicBezTo>
                    <a:pt x="1" y="3"/>
                    <a:pt x="0" y="0"/>
                    <a:pt x="0" y="0"/>
                  </a:cubicBezTo>
                  <a:cubicBezTo>
                    <a:pt x="1" y="0"/>
                    <a:pt x="2" y="3"/>
                    <a:pt x="3" y="7"/>
                  </a:cubicBezTo>
                  <a:cubicBezTo>
                    <a:pt x="4" y="11"/>
                    <a:pt x="5" y="14"/>
                    <a:pt x="5" y="14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Freeform 239">
              <a:extLst>
                <a:ext uri="{FF2B5EF4-FFF2-40B4-BE49-F238E27FC236}">
                  <a16:creationId xmlns:a16="http://schemas.microsoft.com/office/drawing/2014/main" id="{0F48A0CF-A15B-CAA5-3AA9-75D123F80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" y="1251"/>
              <a:ext cx="59" cy="63"/>
            </a:xfrm>
            <a:custGeom>
              <a:avLst/>
              <a:gdLst>
                <a:gd name="T0" fmla="*/ 0 w 36"/>
                <a:gd name="T1" fmla="*/ 1 h 38"/>
                <a:gd name="T2" fmla="*/ 5 w 36"/>
                <a:gd name="T3" fmla="*/ 7 h 38"/>
                <a:gd name="T4" fmla="*/ 16 w 36"/>
                <a:gd name="T5" fmla="*/ 22 h 38"/>
                <a:gd name="T6" fmla="*/ 23 w 36"/>
                <a:gd name="T7" fmla="*/ 30 h 38"/>
                <a:gd name="T8" fmla="*/ 29 w 36"/>
                <a:gd name="T9" fmla="*/ 36 h 38"/>
                <a:gd name="T10" fmla="*/ 36 w 36"/>
                <a:gd name="T11" fmla="*/ 38 h 38"/>
                <a:gd name="T12" fmla="*/ 34 w 36"/>
                <a:gd name="T13" fmla="*/ 38 h 38"/>
                <a:gd name="T14" fmla="*/ 28 w 36"/>
                <a:gd name="T15" fmla="*/ 36 h 38"/>
                <a:gd name="T16" fmla="*/ 22 w 36"/>
                <a:gd name="T17" fmla="*/ 31 h 38"/>
                <a:gd name="T18" fmla="*/ 15 w 36"/>
                <a:gd name="T19" fmla="*/ 23 h 38"/>
                <a:gd name="T20" fmla="*/ 4 w 36"/>
                <a:gd name="T21" fmla="*/ 7 h 38"/>
                <a:gd name="T22" fmla="*/ 0 w 36"/>
                <a:gd name="T23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38">
                  <a:moveTo>
                    <a:pt x="0" y="1"/>
                  </a:moveTo>
                  <a:cubicBezTo>
                    <a:pt x="0" y="0"/>
                    <a:pt x="2" y="3"/>
                    <a:pt x="5" y="7"/>
                  </a:cubicBezTo>
                  <a:cubicBezTo>
                    <a:pt x="8" y="11"/>
                    <a:pt x="12" y="16"/>
                    <a:pt x="16" y="22"/>
                  </a:cubicBezTo>
                  <a:cubicBezTo>
                    <a:pt x="18" y="25"/>
                    <a:pt x="21" y="28"/>
                    <a:pt x="23" y="30"/>
                  </a:cubicBezTo>
                  <a:cubicBezTo>
                    <a:pt x="25" y="32"/>
                    <a:pt x="27" y="34"/>
                    <a:pt x="29" y="36"/>
                  </a:cubicBezTo>
                  <a:cubicBezTo>
                    <a:pt x="33" y="38"/>
                    <a:pt x="36" y="37"/>
                    <a:pt x="36" y="38"/>
                  </a:cubicBezTo>
                  <a:cubicBezTo>
                    <a:pt x="36" y="38"/>
                    <a:pt x="35" y="38"/>
                    <a:pt x="34" y="38"/>
                  </a:cubicBezTo>
                  <a:cubicBezTo>
                    <a:pt x="32" y="38"/>
                    <a:pt x="30" y="38"/>
                    <a:pt x="28" y="36"/>
                  </a:cubicBezTo>
                  <a:cubicBezTo>
                    <a:pt x="26" y="35"/>
                    <a:pt x="24" y="33"/>
                    <a:pt x="22" y="31"/>
                  </a:cubicBezTo>
                  <a:cubicBezTo>
                    <a:pt x="20" y="28"/>
                    <a:pt x="17" y="26"/>
                    <a:pt x="15" y="23"/>
                  </a:cubicBezTo>
                  <a:cubicBezTo>
                    <a:pt x="11" y="17"/>
                    <a:pt x="7" y="11"/>
                    <a:pt x="4" y="7"/>
                  </a:cubicBezTo>
                  <a:cubicBezTo>
                    <a:pt x="2" y="3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Freeform 240">
              <a:extLst>
                <a:ext uri="{FF2B5EF4-FFF2-40B4-BE49-F238E27FC236}">
                  <a16:creationId xmlns:a16="http://schemas.microsoft.com/office/drawing/2014/main" id="{5E4FA924-237A-D54F-EC1C-D8F6F5F80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2" y="1259"/>
              <a:ext cx="27" cy="50"/>
            </a:xfrm>
            <a:custGeom>
              <a:avLst/>
              <a:gdLst>
                <a:gd name="T0" fmla="*/ 16 w 16"/>
                <a:gd name="T1" fmla="*/ 30 h 30"/>
                <a:gd name="T2" fmla="*/ 15 w 16"/>
                <a:gd name="T3" fmla="*/ 25 h 30"/>
                <a:gd name="T4" fmla="*/ 8 w 16"/>
                <a:gd name="T5" fmla="*/ 16 h 30"/>
                <a:gd name="T6" fmla="*/ 2 w 16"/>
                <a:gd name="T7" fmla="*/ 11 h 30"/>
                <a:gd name="T8" fmla="*/ 0 w 16"/>
                <a:gd name="T9" fmla="*/ 6 h 30"/>
                <a:gd name="T10" fmla="*/ 1 w 16"/>
                <a:gd name="T11" fmla="*/ 0 h 30"/>
                <a:gd name="T12" fmla="*/ 1 w 16"/>
                <a:gd name="T13" fmla="*/ 5 h 30"/>
                <a:gd name="T14" fmla="*/ 3 w 16"/>
                <a:gd name="T15" fmla="*/ 10 h 30"/>
                <a:gd name="T16" fmla="*/ 8 w 16"/>
                <a:gd name="T17" fmla="*/ 15 h 30"/>
                <a:gd name="T18" fmla="*/ 15 w 16"/>
                <a:gd name="T19" fmla="*/ 25 h 30"/>
                <a:gd name="T20" fmla="*/ 16 w 16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0">
                  <a:moveTo>
                    <a:pt x="16" y="30"/>
                  </a:moveTo>
                  <a:cubicBezTo>
                    <a:pt x="16" y="30"/>
                    <a:pt x="16" y="28"/>
                    <a:pt x="15" y="25"/>
                  </a:cubicBezTo>
                  <a:cubicBezTo>
                    <a:pt x="13" y="22"/>
                    <a:pt x="11" y="19"/>
                    <a:pt x="8" y="16"/>
                  </a:cubicBezTo>
                  <a:cubicBezTo>
                    <a:pt x="6" y="14"/>
                    <a:pt x="4" y="13"/>
                    <a:pt x="2" y="11"/>
                  </a:cubicBezTo>
                  <a:cubicBezTo>
                    <a:pt x="1" y="9"/>
                    <a:pt x="0" y="7"/>
                    <a:pt x="0" y="6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1" y="0"/>
                    <a:pt x="1" y="2"/>
                    <a:pt x="1" y="5"/>
                  </a:cubicBezTo>
                  <a:cubicBezTo>
                    <a:pt x="1" y="7"/>
                    <a:pt x="2" y="9"/>
                    <a:pt x="3" y="10"/>
                  </a:cubicBezTo>
                  <a:cubicBezTo>
                    <a:pt x="5" y="12"/>
                    <a:pt x="6" y="13"/>
                    <a:pt x="8" y="15"/>
                  </a:cubicBezTo>
                  <a:cubicBezTo>
                    <a:pt x="12" y="18"/>
                    <a:pt x="14" y="22"/>
                    <a:pt x="15" y="25"/>
                  </a:cubicBezTo>
                  <a:cubicBezTo>
                    <a:pt x="16" y="28"/>
                    <a:pt x="16" y="30"/>
                    <a:pt x="16" y="3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Freeform 241">
              <a:extLst>
                <a:ext uri="{FF2B5EF4-FFF2-40B4-BE49-F238E27FC236}">
                  <a16:creationId xmlns:a16="http://schemas.microsoft.com/office/drawing/2014/main" id="{4BD3B9D3-EA4F-E655-C3CE-943CE4AE6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5" y="1417"/>
              <a:ext cx="407" cy="558"/>
            </a:xfrm>
            <a:custGeom>
              <a:avLst/>
              <a:gdLst>
                <a:gd name="T0" fmla="*/ 240 w 247"/>
                <a:gd name="T1" fmla="*/ 318 h 339"/>
                <a:gd name="T2" fmla="*/ 240 w 247"/>
                <a:gd name="T3" fmla="*/ 249 h 339"/>
                <a:gd name="T4" fmla="*/ 247 w 247"/>
                <a:gd name="T5" fmla="*/ 107 h 339"/>
                <a:gd name="T6" fmla="*/ 208 w 247"/>
                <a:gd name="T7" fmla="*/ 0 h 339"/>
                <a:gd name="T8" fmla="*/ 144 w 247"/>
                <a:gd name="T9" fmla="*/ 2 h 339"/>
                <a:gd name="T10" fmla="*/ 96 w 247"/>
                <a:gd name="T11" fmla="*/ 3 h 339"/>
                <a:gd name="T12" fmla="*/ 18 w 247"/>
                <a:gd name="T13" fmla="*/ 79 h 339"/>
                <a:gd name="T14" fmla="*/ 5 w 247"/>
                <a:gd name="T15" fmla="*/ 176 h 339"/>
                <a:gd name="T16" fmla="*/ 10 w 247"/>
                <a:gd name="T17" fmla="*/ 203 h 339"/>
                <a:gd name="T18" fmla="*/ 27 w 247"/>
                <a:gd name="T19" fmla="*/ 268 h 339"/>
                <a:gd name="T20" fmla="*/ 40 w 247"/>
                <a:gd name="T21" fmla="*/ 327 h 339"/>
                <a:gd name="T22" fmla="*/ 232 w 247"/>
                <a:gd name="T23" fmla="*/ 332 h 339"/>
                <a:gd name="T24" fmla="*/ 240 w 247"/>
                <a:gd name="T25" fmla="*/ 318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7" h="339">
                  <a:moveTo>
                    <a:pt x="240" y="318"/>
                  </a:moveTo>
                  <a:cubicBezTo>
                    <a:pt x="240" y="249"/>
                    <a:pt x="240" y="249"/>
                    <a:pt x="240" y="249"/>
                  </a:cubicBezTo>
                  <a:cubicBezTo>
                    <a:pt x="240" y="249"/>
                    <a:pt x="247" y="141"/>
                    <a:pt x="247" y="107"/>
                  </a:cubicBezTo>
                  <a:cubicBezTo>
                    <a:pt x="247" y="74"/>
                    <a:pt x="208" y="0"/>
                    <a:pt x="208" y="0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6" y="3"/>
                    <a:pt x="18" y="79"/>
                    <a:pt x="18" y="79"/>
                  </a:cubicBezTo>
                  <a:cubicBezTo>
                    <a:pt x="18" y="79"/>
                    <a:pt x="0" y="123"/>
                    <a:pt x="5" y="176"/>
                  </a:cubicBezTo>
                  <a:cubicBezTo>
                    <a:pt x="6" y="185"/>
                    <a:pt x="8" y="194"/>
                    <a:pt x="10" y="203"/>
                  </a:cubicBezTo>
                  <a:cubicBezTo>
                    <a:pt x="27" y="268"/>
                    <a:pt x="27" y="268"/>
                    <a:pt x="27" y="268"/>
                  </a:cubicBezTo>
                  <a:cubicBezTo>
                    <a:pt x="27" y="268"/>
                    <a:pt x="36" y="312"/>
                    <a:pt x="40" y="327"/>
                  </a:cubicBezTo>
                  <a:cubicBezTo>
                    <a:pt x="42" y="339"/>
                    <a:pt x="174" y="333"/>
                    <a:pt x="232" y="332"/>
                  </a:cubicBezTo>
                  <a:cubicBezTo>
                    <a:pt x="245" y="332"/>
                    <a:pt x="240" y="318"/>
                    <a:pt x="240" y="318"/>
                  </a:cubicBezTo>
                </a:path>
              </a:pathLst>
            </a:custGeom>
            <a:solidFill>
              <a:srgbClr val="EAD6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Freeform 242">
              <a:extLst>
                <a:ext uri="{FF2B5EF4-FFF2-40B4-BE49-F238E27FC236}">
                  <a16:creationId xmlns:a16="http://schemas.microsoft.com/office/drawing/2014/main" id="{B269E6D3-72DA-DE31-F6A9-A17AB2BD5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" y="1384"/>
              <a:ext cx="523" cy="371"/>
            </a:xfrm>
            <a:custGeom>
              <a:avLst/>
              <a:gdLst>
                <a:gd name="T0" fmla="*/ 41 w 318"/>
                <a:gd name="T1" fmla="*/ 0 h 225"/>
                <a:gd name="T2" fmla="*/ 126 w 318"/>
                <a:gd name="T3" fmla="*/ 117 h 225"/>
                <a:gd name="T4" fmla="*/ 225 w 318"/>
                <a:gd name="T5" fmla="*/ 50 h 225"/>
                <a:gd name="T6" fmla="*/ 293 w 318"/>
                <a:gd name="T7" fmla="*/ 24 h 225"/>
                <a:gd name="T8" fmla="*/ 285 w 318"/>
                <a:gd name="T9" fmla="*/ 142 h 225"/>
                <a:gd name="T10" fmla="*/ 109 w 318"/>
                <a:gd name="T11" fmla="*/ 221 h 225"/>
                <a:gd name="T12" fmla="*/ 7 w 318"/>
                <a:gd name="T13" fmla="*/ 47 h 225"/>
                <a:gd name="T14" fmla="*/ 0 w 318"/>
                <a:gd name="T15" fmla="*/ 37 h 225"/>
                <a:gd name="T16" fmla="*/ 41 w 318"/>
                <a:gd name="T1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8" h="225">
                  <a:moveTo>
                    <a:pt x="41" y="0"/>
                  </a:moveTo>
                  <a:cubicBezTo>
                    <a:pt x="41" y="0"/>
                    <a:pt x="123" y="117"/>
                    <a:pt x="126" y="117"/>
                  </a:cubicBezTo>
                  <a:cubicBezTo>
                    <a:pt x="129" y="117"/>
                    <a:pt x="225" y="50"/>
                    <a:pt x="225" y="50"/>
                  </a:cubicBezTo>
                  <a:cubicBezTo>
                    <a:pt x="225" y="50"/>
                    <a:pt x="267" y="18"/>
                    <a:pt x="293" y="24"/>
                  </a:cubicBezTo>
                  <a:cubicBezTo>
                    <a:pt x="318" y="30"/>
                    <a:pt x="285" y="142"/>
                    <a:pt x="285" y="142"/>
                  </a:cubicBezTo>
                  <a:cubicBezTo>
                    <a:pt x="285" y="142"/>
                    <a:pt x="154" y="217"/>
                    <a:pt x="109" y="221"/>
                  </a:cubicBezTo>
                  <a:cubicBezTo>
                    <a:pt x="65" y="225"/>
                    <a:pt x="7" y="47"/>
                    <a:pt x="7" y="4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41" y="0"/>
                    <a:pt x="41" y="0"/>
                    <a:pt x="41" y="0"/>
                  </a:cubicBezTo>
                </a:path>
              </a:pathLst>
            </a:custGeom>
            <a:solidFill>
              <a:srgbClr val="EAD6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Freeform 243">
              <a:extLst>
                <a:ext uri="{FF2B5EF4-FFF2-40B4-BE49-F238E27FC236}">
                  <a16:creationId xmlns:a16="http://schemas.microsoft.com/office/drawing/2014/main" id="{E3A5E788-52E2-0349-4D13-0BAA375B4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" y="1631"/>
              <a:ext cx="120" cy="330"/>
            </a:xfrm>
            <a:custGeom>
              <a:avLst/>
              <a:gdLst>
                <a:gd name="T0" fmla="*/ 73 w 73"/>
                <a:gd name="T1" fmla="*/ 0 h 200"/>
                <a:gd name="T2" fmla="*/ 71 w 73"/>
                <a:gd name="T3" fmla="*/ 1 h 200"/>
                <a:gd name="T4" fmla="*/ 64 w 73"/>
                <a:gd name="T5" fmla="*/ 5 h 200"/>
                <a:gd name="T6" fmla="*/ 41 w 73"/>
                <a:gd name="T7" fmla="*/ 17 h 200"/>
                <a:gd name="T8" fmla="*/ 25 w 73"/>
                <a:gd name="T9" fmla="*/ 26 h 200"/>
                <a:gd name="T10" fmla="*/ 16 w 73"/>
                <a:gd name="T11" fmla="*/ 31 h 200"/>
                <a:gd name="T12" fmla="*/ 7 w 73"/>
                <a:gd name="T13" fmla="*/ 36 h 200"/>
                <a:gd name="T14" fmla="*/ 2 w 73"/>
                <a:gd name="T15" fmla="*/ 44 h 200"/>
                <a:gd name="T16" fmla="*/ 4 w 73"/>
                <a:gd name="T17" fmla="*/ 56 h 200"/>
                <a:gd name="T18" fmla="*/ 10 w 73"/>
                <a:gd name="T19" fmla="*/ 80 h 200"/>
                <a:gd name="T20" fmla="*/ 31 w 73"/>
                <a:gd name="T21" fmla="*/ 164 h 200"/>
                <a:gd name="T22" fmla="*/ 36 w 73"/>
                <a:gd name="T23" fmla="*/ 190 h 200"/>
                <a:gd name="T24" fmla="*/ 38 w 73"/>
                <a:gd name="T25" fmla="*/ 197 h 200"/>
                <a:gd name="T26" fmla="*/ 38 w 73"/>
                <a:gd name="T27" fmla="*/ 200 h 200"/>
                <a:gd name="T28" fmla="*/ 37 w 73"/>
                <a:gd name="T29" fmla="*/ 197 h 200"/>
                <a:gd name="T30" fmla="*/ 36 w 73"/>
                <a:gd name="T31" fmla="*/ 190 h 200"/>
                <a:gd name="T32" fmla="*/ 29 w 73"/>
                <a:gd name="T33" fmla="*/ 165 h 200"/>
                <a:gd name="T34" fmla="*/ 8 w 73"/>
                <a:gd name="T35" fmla="*/ 80 h 200"/>
                <a:gd name="T36" fmla="*/ 2 w 73"/>
                <a:gd name="T37" fmla="*/ 56 h 200"/>
                <a:gd name="T38" fmla="*/ 0 w 73"/>
                <a:gd name="T39" fmla="*/ 44 h 200"/>
                <a:gd name="T40" fmla="*/ 2 w 73"/>
                <a:gd name="T41" fmla="*/ 38 h 200"/>
                <a:gd name="T42" fmla="*/ 6 w 73"/>
                <a:gd name="T43" fmla="*/ 34 h 200"/>
                <a:gd name="T44" fmla="*/ 40 w 73"/>
                <a:gd name="T45" fmla="*/ 16 h 200"/>
                <a:gd name="T46" fmla="*/ 64 w 73"/>
                <a:gd name="T47" fmla="*/ 4 h 200"/>
                <a:gd name="T48" fmla="*/ 70 w 73"/>
                <a:gd name="T49" fmla="*/ 1 h 200"/>
                <a:gd name="T50" fmla="*/ 73 w 73"/>
                <a:gd name="T51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3" h="200">
                  <a:moveTo>
                    <a:pt x="73" y="0"/>
                  </a:moveTo>
                  <a:cubicBezTo>
                    <a:pt x="73" y="0"/>
                    <a:pt x="72" y="0"/>
                    <a:pt x="71" y="1"/>
                  </a:cubicBezTo>
                  <a:cubicBezTo>
                    <a:pt x="69" y="2"/>
                    <a:pt x="67" y="3"/>
                    <a:pt x="64" y="5"/>
                  </a:cubicBezTo>
                  <a:cubicBezTo>
                    <a:pt x="59" y="8"/>
                    <a:pt x="51" y="12"/>
                    <a:pt x="41" y="17"/>
                  </a:cubicBezTo>
                  <a:cubicBezTo>
                    <a:pt x="36" y="20"/>
                    <a:pt x="31" y="23"/>
                    <a:pt x="25" y="26"/>
                  </a:cubicBezTo>
                  <a:cubicBezTo>
                    <a:pt x="22" y="27"/>
                    <a:pt x="19" y="29"/>
                    <a:pt x="16" y="31"/>
                  </a:cubicBezTo>
                  <a:cubicBezTo>
                    <a:pt x="13" y="32"/>
                    <a:pt x="9" y="33"/>
                    <a:pt x="7" y="36"/>
                  </a:cubicBezTo>
                  <a:cubicBezTo>
                    <a:pt x="4" y="38"/>
                    <a:pt x="2" y="41"/>
                    <a:pt x="2" y="44"/>
                  </a:cubicBezTo>
                  <a:cubicBezTo>
                    <a:pt x="2" y="48"/>
                    <a:pt x="3" y="52"/>
                    <a:pt x="4" y="56"/>
                  </a:cubicBezTo>
                  <a:cubicBezTo>
                    <a:pt x="6" y="64"/>
                    <a:pt x="8" y="72"/>
                    <a:pt x="10" y="80"/>
                  </a:cubicBezTo>
                  <a:cubicBezTo>
                    <a:pt x="17" y="113"/>
                    <a:pt x="25" y="143"/>
                    <a:pt x="31" y="164"/>
                  </a:cubicBezTo>
                  <a:cubicBezTo>
                    <a:pt x="33" y="175"/>
                    <a:pt x="35" y="184"/>
                    <a:pt x="36" y="190"/>
                  </a:cubicBezTo>
                  <a:cubicBezTo>
                    <a:pt x="37" y="193"/>
                    <a:pt x="38" y="195"/>
                    <a:pt x="38" y="197"/>
                  </a:cubicBezTo>
                  <a:cubicBezTo>
                    <a:pt x="38" y="199"/>
                    <a:pt x="38" y="200"/>
                    <a:pt x="38" y="200"/>
                  </a:cubicBezTo>
                  <a:cubicBezTo>
                    <a:pt x="38" y="200"/>
                    <a:pt x="38" y="199"/>
                    <a:pt x="37" y="197"/>
                  </a:cubicBezTo>
                  <a:cubicBezTo>
                    <a:pt x="37" y="195"/>
                    <a:pt x="36" y="193"/>
                    <a:pt x="36" y="190"/>
                  </a:cubicBezTo>
                  <a:cubicBezTo>
                    <a:pt x="34" y="184"/>
                    <a:pt x="32" y="175"/>
                    <a:pt x="29" y="165"/>
                  </a:cubicBezTo>
                  <a:cubicBezTo>
                    <a:pt x="23" y="143"/>
                    <a:pt x="15" y="114"/>
                    <a:pt x="8" y="80"/>
                  </a:cubicBezTo>
                  <a:cubicBezTo>
                    <a:pt x="6" y="72"/>
                    <a:pt x="3" y="64"/>
                    <a:pt x="2" y="56"/>
                  </a:cubicBezTo>
                  <a:cubicBezTo>
                    <a:pt x="1" y="52"/>
                    <a:pt x="0" y="48"/>
                    <a:pt x="0" y="44"/>
                  </a:cubicBezTo>
                  <a:cubicBezTo>
                    <a:pt x="0" y="42"/>
                    <a:pt x="1" y="40"/>
                    <a:pt x="2" y="38"/>
                  </a:cubicBezTo>
                  <a:cubicBezTo>
                    <a:pt x="2" y="37"/>
                    <a:pt x="4" y="35"/>
                    <a:pt x="6" y="34"/>
                  </a:cubicBezTo>
                  <a:cubicBezTo>
                    <a:pt x="19" y="27"/>
                    <a:pt x="30" y="21"/>
                    <a:pt x="40" y="16"/>
                  </a:cubicBezTo>
                  <a:cubicBezTo>
                    <a:pt x="50" y="11"/>
                    <a:pt x="58" y="7"/>
                    <a:pt x="64" y="4"/>
                  </a:cubicBezTo>
                  <a:cubicBezTo>
                    <a:pt x="67" y="3"/>
                    <a:pt x="69" y="2"/>
                    <a:pt x="70" y="1"/>
                  </a:cubicBezTo>
                  <a:cubicBezTo>
                    <a:pt x="72" y="0"/>
                    <a:pt x="73" y="0"/>
                    <a:pt x="7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Freeform 244">
              <a:extLst>
                <a:ext uri="{FF2B5EF4-FFF2-40B4-BE49-F238E27FC236}">
                  <a16:creationId xmlns:a16="http://schemas.microsoft.com/office/drawing/2014/main" id="{BCBD65EF-9DE3-B2D4-AA34-EA78096F2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577"/>
              <a:ext cx="10" cy="72"/>
            </a:xfrm>
            <a:custGeom>
              <a:avLst/>
              <a:gdLst>
                <a:gd name="T0" fmla="*/ 3 w 6"/>
                <a:gd name="T1" fmla="*/ 44 h 44"/>
                <a:gd name="T2" fmla="*/ 0 w 6"/>
                <a:gd name="T3" fmla="*/ 22 h 44"/>
                <a:gd name="T4" fmla="*/ 6 w 6"/>
                <a:gd name="T5" fmla="*/ 0 h 44"/>
                <a:gd name="T6" fmla="*/ 3 w 6"/>
                <a:gd name="T7" fmla="*/ 22 h 44"/>
                <a:gd name="T8" fmla="*/ 3 w 6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4">
                  <a:moveTo>
                    <a:pt x="3" y="44"/>
                  </a:moveTo>
                  <a:cubicBezTo>
                    <a:pt x="2" y="44"/>
                    <a:pt x="0" y="34"/>
                    <a:pt x="0" y="22"/>
                  </a:cubicBezTo>
                  <a:cubicBezTo>
                    <a:pt x="1" y="9"/>
                    <a:pt x="5" y="0"/>
                    <a:pt x="6" y="0"/>
                  </a:cubicBezTo>
                  <a:cubicBezTo>
                    <a:pt x="6" y="0"/>
                    <a:pt x="3" y="10"/>
                    <a:pt x="3" y="22"/>
                  </a:cubicBezTo>
                  <a:cubicBezTo>
                    <a:pt x="2" y="34"/>
                    <a:pt x="3" y="44"/>
                    <a:pt x="3" y="4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Freeform 245">
              <a:extLst>
                <a:ext uri="{FF2B5EF4-FFF2-40B4-BE49-F238E27FC236}">
                  <a16:creationId xmlns:a16="http://schemas.microsoft.com/office/drawing/2014/main" id="{BB2B2E65-5E14-DC82-B1FE-2831CA1C6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577"/>
              <a:ext cx="36" cy="61"/>
            </a:xfrm>
            <a:custGeom>
              <a:avLst/>
              <a:gdLst>
                <a:gd name="T0" fmla="*/ 1 w 22"/>
                <a:gd name="T1" fmla="*/ 37 h 37"/>
                <a:gd name="T2" fmla="*/ 7 w 22"/>
                <a:gd name="T3" fmla="*/ 16 h 37"/>
                <a:gd name="T4" fmla="*/ 22 w 22"/>
                <a:gd name="T5" fmla="*/ 0 h 37"/>
                <a:gd name="T6" fmla="*/ 9 w 22"/>
                <a:gd name="T7" fmla="*/ 18 h 37"/>
                <a:gd name="T8" fmla="*/ 1 w 2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7">
                  <a:moveTo>
                    <a:pt x="1" y="37"/>
                  </a:moveTo>
                  <a:cubicBezTo>
                    <a:pt x="0" y="37"/>
                    <a:pt x="1" y="27"/>
                    <a:pt x="7" y="16"/>
                  </a:cubicBezTo>
                  <a:cubicBezTo>
                    <a:pt x="13" y="6"/>
                    <a:pt x="22" y="0"/>
                    <a:pt x="22" y="0"/>
                  </a:cubicBezTo>
                  <a:cubicBezTo>
                    <a:pt x="22" y="1"/>
                    <a:pt x="15" y="7"/>
                    <a:pt x="9" y="18"/>
                  </a:cubicBezTo>
                  <a:cubicBezTo>
                    <a:pt x="3" y="28"/>
                    <a:pt x="1" y="37"/>
                    <a:pt x="1" y="37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Freeform 246">
              <a:extLst>
                <a:ext uri="{FF2B5EF4-FFF2-40B4-BE49-F238E27FC236}">
                  <a16:creationId xmlns:a16="http://schemas.microsoft.com/office/drawing/2014/main" id="{BE5B9F16-BD68-D873-1E19-54A21DF3C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7" y="1445"/>
              <a:ext cx="39" cy="135"/>
            </a:xfrm>
            <a:custGeom>
              <a:avLst/>
              <a:gdLst>
                <a:gd name="T0" fmla="*/ 20 w 24"/>
                <a:gd name="T1" fmla="*/ 82 h 82"/>
                <a:gd name="T2" fmla="*/ 22 w 24"/>
                <a:gd name="T3" fmla="*/ 69 h 82"/>
                <a:gd name="T4" fmla="*/ 19 w 24"/>
                <a:gd name="T5" fmla="*/ 39 h 82"/>
                <a:gd name="T6" fmla="*/ 7 w 24"/>
                <a:gd name="T7" fmla="*/ 11 h 82"/>
                <a:gd name="T8" fmla="*/ 0 w 24"/>
                <a:gd name="T9" fmla="*/ 0 h 82"/>
                <a:gd name="T10" fmla="*/ 2 w 24"/>
                <a:gd name="T11" fmla="*/ 2 h 82"/>
                <a:gd name="T12" fmla="*/ 8 w 24"/>
                <a:gd name="T13" fmla="*/ 10 h 82"/>
                <a:gd name="T14" fmla="*/ 21 w 24"/>
                <a:gd name="T15" fmla="*/ 38 h 82"/>
                <a:gd name="T16" fmla="*/ 23 w 24"/>
                <a:gd name="T17" fmla="*/ 70 h 82"/>
                <a:gd name="T18" fmla="*/ 21 w 24"/>
                <a:gd name="T19" fmla="*/ 79 h 82"/>
                <a:gd name="T20" fmla="*/ 20 w 24"/>
                <a:gd name="T2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82">
                  <a:moveTo>
                    <a:pt x="20" y="82"/>
                  </a:moveTo>
                  <a:cubicBezTo>
                    <a:pt x="20" y="82"/>
                    <a:pt x="21" y="77"/>
                    <a:pt x="22" y="69"/>
                  </a:cubicBezTo>
                  <a:cubicBezTo>
                    <a:pt x="22" y="61"/>
                    <a:pt x="22" y="50"/>
                    <a:pt x="19" y="39"/>
                  </a:cubicBezTo>
                  <a:cubicBezTo>
                    <a:pt x="16" y="27"/>
                    <a:pt x="12" y="17"/>
                    <a:pt x="7" y="11"/>
                  </a:cubicBezTo>
                  <a:cubicBezTo>
                    <a:pt x="3" y="4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ubicBezTo>
                    <a:pt x="4" y="4"/>
                    <a:pt x="6" y="6"/>
                    <a:pt x="8" y="10"/>
                  </a:cubicBezTo>
                  <a:cubicBezTo>
                    <a:pt x="13" y="16"/>
                    <a:pt x="18" y="26"/>
                    <a:pt x="21" y="38"/>
                  </a:cubicBezTo>
                  <a:cubicBezTo>
                    <a:pt x="24" y="50"/>
                    <a:pt x="24" y="62"/>
                    <a:pt x="23" y="70"/>
                  </a:cubicBezTo>
                  <a:cubicBezTo>
                    <a:pt x="23" y="73"/>
                    <a:pt x="22" y="77"/>
                    <a:pt x="21" y="79"/>
                  </a:cubicBezTo>
                  <a:cubicBezTo>
                    <a:pt x="21" y="81"/>
                    <a:pt x="20" y="82"/>
                    <a:pt x="20" y="8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Freeform 247">
              <a:extLst>
                <a:ext uri="{FF2B5EF4-FFF2-40B4-BE49-F238E27FC236}">
                  <a16:creationId xmlns:a16="http://schemas.microsoft.com/office/drawing/2014/main" id="{FA89B418-3564-84C7-395A-6B74CECC0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" y="14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Freeform 248">
              <a:extLst>
                <a:ext uri="{FF2B5EF4-FFF2-40B4-BE49-F238E27FC236}">
                  <a16:creationId xmlns:a16="http://schemas.microsoft.com/office/drawing/2014/main" id="{B316F5A8-694D-693E-5EA7-7BE608FFE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9" y="1458"/>
              <a:ext cx="163" cy="109"/>
            </a:xfrm>
            <a:custGeom>
              <a:avLst/>
              <a:gdLst>
                <a:gd name="T0" fmla="*/ 84 w 99"/>
                <a:gd name="T1" fmla="*/ 0 h 66"/>
                <a:gd name="T2" fmla="*/ 4 w 99"/>
                <a:gd name="T3" fmla="*/ 18 h 66"/>
                <a:gd name="T4" fmla="*/ 10 w 99"/>
                <a:gd name="T5" fmla="*/ 44 h 66"/>
                <a:gd name="T6" fmla="*/ 34 w 99"/>
                <a:gd name="T7" fmla="*/ 58 h 66"/>
                <a:gd name="T8" fmla="*/ 61 w 99"/>
                <a:gd name="T9" fmla="*/ 66 h 66"/>
                <a:gd name="T10" fmla="*/ 67 w 99"/>
                <a:gd name="T11" fmla="*/ 65 h 66"/>
                <a:gd name="T12" fmla="*/ 87 w 99"/>
                <a:gd name="T13" fmla="*/ 54 h 66"/>
                <a:gd name="T14" fmla="*/ 96 w 99"/>
                <a:gd name="T15" fmla="*/ 43 h 66"/>
                <a:gd name="T16" fmla="*/ 92 w 99"/>
                <a:gd name="T17" fmla="*/ 21 h 66"/>
                <a:gd name="T18" fmla="*/ 84 w 99"/>
                <a:gd name="T19" fmla="*/ 0 h 66"/>
                <a:gd name="T20" fmla="*/ 84 w 99"/>
                <a:gd name="T2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66">
                  <a:moveTo>
                    <a:pt x="84" y="0"/>
                  </a:moveTo>
                  <a:cubicBezTo>
                    <a:pt x="4" y="18"/>
                    <a:pt x="4" y="18"/>
                    <a:pt x="4" y="18"/>
                  </a:cubicBezTo>
                  <a:cubicBezTo>
                    <a:pt x="0" y="27"/>
                    <a:pt x="4" y="37"/>
                    <a:pt x="10" y="44"/>
                  </a:cubicBezTo>
                  <a:cubicBezTo>
                    <a:pt x="16" y="50"/>
                    <a:pt x="25" y="54"/>
                    <a:pt x="34" y="58"/>
                  </a:cubicBezTo>
                  <a:cubicBezTo>
                    <a:pt x="42" y="62"/>
                    <a:pt x="51" y="66"/>
                    <a:pt x="61" y="66"/>
                  </a:cubicBezTo>
                  <a:cubicBezTo>
                    <a:pt x="63" y="66"/>
                    <a:pt x="65" y="66"/>
                    <a:pt x="67" y="65"/>
                  </a:cubicBezTo>
                  <a:cubicBezTo>
                    <a:pt x="74" y="64"/>
                    <a:pt x="81" y="59"/>
                    <a:pt x="87" y="54"/>
                  </a:cubicBezTo>
                  <a:cubicBezTo>
                    <a:pt x="91" y="51"/>
                    <a:pt x="95" y="47"/>
                    <a:pt x="96" y="43"/>
                  </a:cubicBezTo>
                  <a:cubicBezTo>
                    <a:pt x="99" y="35"/>
                    <a:pt x="95" y="28"/>
                    <a:pt x="92" y="21"/>
                  </a:cubicBezTo>
                  <a:cubicBezTo>
                    <a:pt x="88" y="14"/>
                    <a:pt x="84" y="8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</a:path>
              </a:pathLst>
            </a:custGeom>
            <a:solidFill>
              <a:srgbClr val="D7BC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Freeform 249">
              <a:extLst>
                <a:ext uri="{FF2B5EF4-FFF2-40B4-BE49-F238E27FC236}">
                  <a16:creationId xmlns:a16="http://schemas.microsoft.com/office/drawing/2014/main" id="{363DE5C1-F2CD-2D5D-05AA-51B6B3172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" y="1623"/>
              <a:ext cx="130" cy="73"/>
            </a:xfrm>
            <a:custGeom>
              <a:avLst/>
              <a:gdLst>
                <a:gd name="T0" fmla="*/ 79 w 79"/>
                <a:gd name="T1" fmla="*/ 0 h 44"/>
                <a:gd name="T2" fmla="*/ 29 w 79"/>
                <a:gd name="T3" fmla="*/ 26 h 44"/>
                <a:gd name="T4" fmla="*/ 27 w 79"/>
                <a:gd name="T5" fmla="*/ 27 h 44"/>
                <a:gd name="T6" fmla="*/ 20 w 79"/>
                <a:gd name="T7" fmla="*/ 31 h 44"/>
                <a:gd name="T8" fmla="*/ 11 w 79"/>
                <a:gd name="T9" fmla="*/ 36 h 44"/>
                <a:gd name="T10" fmla="*/ 2 w 79"/>
                <a:gd name="T11" fmla="*/ 41 h 44"/>
                <a:gd name="T12" fmla="*/ 0 w 79"/>
                <a:gd name="T13" fmla="*/ 42 h 44"/>
                <a:gd name="T14" fmla="*/ 14 w 79"/>
                <a:gd name="T15" fmla="*/ 44 h 44"/>
                <a:gd name="T16" fmla="*/ 50 w 79"/>
                <a:gd name="T17" fmla="*/ 34 h 44"/>
                <a:gd name="T18" fmla="*/ 79 w 79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44">
                  <a:moveTo>
                    <a:pt x="79" y="0"/>
                  </a:moveTo>
                  <a:cubicBezTo>
                    <a:pt x="71" y="4"/>
                    <a:pt x="52" y="14"/>
                    <a:pt x="29" y="26"/>
                  </a:cubicBezTo>
                  <a:cubicBezTo>
                    <a:pt x="29" y="26"/>
                    <a:pt x="28" y="27"/>
                    <a:pt x="27" y="27"/>
                  </a:cubicBezTo>
                  <a:cubicBezTo>
                    <a:pt x="25" y="28"/>
                    <a:pt x="23" y="30"/>
                    <a:pt x="20" y="31"/>
                  </a:cubicBezTo>
                  <a:cubicBezTo>
                    <a:pt x="17" y="32"/>
                    <a:pt x="14" y="34"/>
                    <a:pt x="11" y="36"/>
                  </a:cubicBezTo>
                  <a:cubicBezTo>
                    <a:pt x="8" y="37"/>
                    <a:pt x="4" y="38"/>
                    <a:pt x="2" y="41"/>
                  </a:cubicBezTo>
                  <a:cubicBezTo>
                    <a:pt x="1" y="41"/>
                    <a:pt x="0" y="42"/>
                    <a:pt x="0" y="42"/>
                  </a:cubicBezTo>
                  <a:cubicBezTo>
                    <a:pt x="4" y="43"/>
                    <a:pt x="9" y="44"/>
                    <a:pt x="14" y="44"/>
                  </a:cubicBezTo>
                  <a:cubicBezTo>
                    <a:pt x="26" y="44"/>
                    <a:pt x="39" y="40"/>
                    <a:pt x="50" y="34"/>
                  </a:cubicBezTo>
                  <a:cubicBezTo>
                    <a:pt x="63" y="26"/>
                    <a:pt x="73" y="14"/>
                    <a:pt x="79" y="0"/>
                  </a:cubicBezTo>
                </a:path>
              </a:pathLst>
            </a:custGeom>
            <a:solidFill>
              <a:srgbClr val="D7BC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Freeform 250">
              <a:extLst>
                <a:ext uri="{FF2B5EF4-FFF2-40B4-BE49-F238E27FC236}">
                  <a16:creationId xmlns:a16="http://schemas.microsoft.com/office/drawing/2014/main" id="{9F3FB3E6-6ED3-931A-AC33-48DB66F33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" y="1610"/>
              <a:ext cx="85" cy="56"/>
            </a:xfrm>
            <a:custGeom>
              <a:avLst/>
              <a:gdLst>
                <a:gd name="T0" fmla="*/ 52 w 52"/>
                <a:gd name="T1" fmla="*/ 0 h 34"/>
                <a:gd name="T2" fmla="*/ 22 w 52"/>
                <a:gd name="T3" fmla="*/ 21 h 34"/>
                <a:gd name="T4" fmla="*/ 30 w 52"/>
                <a:gd name="T5" fmla="*/ 17 h 34"/>
                <a:gd name="T6" fmla="*/ 36 w 52"/>
                <a:gd name="T7" fmla="*/ 14 h 34"/>
                <a:gd name="T8" fmla="*/ 39 w 52"/>
                <a:gd name="T9" fmla="*/ 13 h 34"/>
                <a:gd name="T10" fmla="*/ 39 w 52"/>
                <a:gd name="T11" fmla="*/ 13 h 34"/>
                <a:gd name="T12" fmla="*/ 37 w 52"/>
                <a:gd name="T13" fmla="*/ 14 h 34"/>
                <a:gd name="T14" fmla="*/ 30 w 52"/>
                <a:gd name="T15" fmla="*/ 18 h 34"/>
                <a:gd name="T16" fmla="*/ 7 w 52"/>
                <a:gd name="T17" fmla="*/ 30 h 34"/>
                <a:gd name="T18" fmla="*/ 1 w 52"/>
                <a:gd name="T19" fmla="*/ 33 h 34"/>
                <a:gd name="T20" fmla="*/ 0 w 52"/>
                <a:gd name="T21" fmla="*/ 34 h 34"/>
                <a:gd name="T22" fmla="*/ 50 w 52"/>
                <a:gd name="T23" fmla="*/ 8 h 34"/>
                <a:gd name="T24" fmla="*/ 52 w 52"/>
                <a:gd name="T2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34">
                  <a:moveTo>
                    <a:pt x="52" y="0"/>
                  </a:moveTo>
                  <a:cubicBezTo>
                    <a:pt x="41" y="8"/>
                    <a:pt x="32" y="15"/>
                    <a:pt x="22" y="21"/>
                  </a:cubicBezTo>
                  <a:cubicBezTo>
                    <a:pt x="25" y="20"/>
                    <a:pt x="28" y="18"/>
                    <a:pt x="30" y="17"/>
                  </a:cubicBezTo>
                  <a:cubicBezTo>
                    <a:pt x="33" y="16"/>
                    <a:pt x="35" y="15"/>
                    <a:pt x="36" y="14"/>
                  </a:cubicBezTo>
                  <a:cubicBezTo>
                    <a:pt x="38" y="13"/>
                    <a:pt x="38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8" y="13"/>
                    <a:pt x="37" y="14"/>
                  </a:cubicBezTo>
                  <a:cubicBezTo>
                    <a:pt x="35" y="15"/>
                    <a:pt x="33" y="16"/>
                    <a:pt x="30" y="18"/>
                  </a:cubicBezTo>
                  <a:cubicBezTo>
                    <a:pt x="25" y="21"/>
                    <a:pt x="17" y="25"/>
                    <a:pt x="7" y="30"/>
                  </a:cubicBezTo>
                  <a:cubicBezTo>
                    <a:pt x="5" y="31"/>
                    <a:pt x="3" y="32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cubicBezTo>
                    <a:pt x="23" y="22"/>
                    <a:pt x="42" y="12"/>
                    <a:pt x="50" y="8"/>
                  </a:cubicBezTo>
                  <a:cubicBezTo>
                    <a:pt x="51" y="5"/>
                    <a:pt x="51" y="3"/>
                    <a:pt x="52" y="0"/>
                  </a:cubicBezTo>
                </a:path>
              </a:pathLst>
            </a:custGeom>
            <a:solidFill>
              <a:srgbClr val="B2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Freeform 251">
              <a:extLst>
                <a:ext uri="{FF2B5EF4-FFF2-40B4-BE49-F238E27FC236}">
                  <a16:creationId xmlns:a16="http://schemas.microsoft.com/office/drawing/2014/main" id="{F039B892-8542-961E-3C48-0BC4B4553A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6" y="1631"/>
              <a:ext cx="114" cy="61"/>
            </a:xfrm>
            <a:custGeom>
              <a:avLst/>
              <a:gdLst>
                <a:gd name="T0" fmla="*/ 28 w 69"/>
                <a:gd name="T1" fmla="*/ 22 h 37"/>
                <a:gd name="T2" fmla="*/ 3 w 69"/>
                <a:gd name="T3" fmla="*/ 34 h 37"/>
                <a:gd name="T4" fmla="*/ 0 w 69"/>
                <a:gd name="T5" fmla="*/ 37 h 37"/>
                <a:gd name="T6" fmla="*/ 1 w 69"/>
                <a:gd name="T7" fmla="*/ 37 h 37"/>
                <a:gd name="T8" fmla="*/ 3 w 69"/>
                <a:gd name="T9" fmla="*/ 36 h 37"/>
                <a:gd name="T10" fmla="*/ 12 w 69"/>
                <a:gd name="T11" fmla="*/ 31 h 37"/>
                <a:gd name="T12" fmla="*/ 21 w 69"/>
                <a:gd name="T13" fmla="*/ 26 h 37"/>
                <a:gd name="T14" fmla="*/ 28 w 69"/>
                <a:gd name="T15" fmla="*/ 22 h 37"/>
                <a:gd name="T16" fmla="*/ 69 w 69"/>
                <a:gd name="T17" fmla="*/ 0 h 37"/>
                <a:gd name="T18" fmla="*/ 66 w 69"/>
                <a:gd name="T19" fmla="*/ 1 h 37"/>
                <a:gd name="T20" fmla="*/ 60 w 69"/>
                <a:gd name="T21" fmla="*/ 4 h 37"/>
                <a:gd name="T22" fmla="*/ 52 w 69"/>
                <a:gd name="T23" fmla="*/ 8 h 37"/>
                <a:gd name="T24" fmla="*/ 31 w 69"/>
                <a:gd name="T25" fmla="*/ 20 h 37"/>
                <a:gd name="T26" fmla="*/ 37 w 69"/>
                <a:gd name="T27" fmla="*/ 17 h 37"/>
                <a:gd name="T28" fmla="*/ 60 w 69"/>
                <a:gd name="T29" fmla="*/ 5 h 37"/>
                <a:gd name="T30" fmla="*/ 67 w 69"/>
                <a:gd name="T31" fmla="*/ 1 h 37"/>
                <a:gd name="T32" fmla="*/ 69 w 69"/>
                <a:gd name="T33" fmla="*/ 0 h 37"/>
                <a:gd name="T34" fmla="*/ 69 w 69"/>
                <a:gd name="T3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9" h="37">
                  <a:moveTo>
                    <a:pt x="28" y="22"/>
                  </a:moveTo>
                  <a:cubicBezTo>
                    <a:pt x="20" y="26"/>
                    <a:pt x="12" y="30"/>
                    <a:pt x="3" y="3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1" y="37"/>
                  </a:cubicBezTo>
                  <a:cubicBezTo>
                    <a:pt x="1" y="37"/>
                    <a:pt x="2" y="36"/>
                    <a:pt x="3" y="36"/>
                  </a:cubicBezTo>
                  <a:cubicBezTo>
                    <a:pt x="5" y="33"/>
                    <a:pt x="9" y="32"/>
                    <a:pt x="12" y="31"/>
                  </a:cubicBezTo>
                  <a:cubicBezTo>
                    <a:pt x="15" y="29"/>
                    <a:pt x="18" y="27"/>
                    <a:pt x="21" y="26"/>
                  </a:cubicBezTo>
                  <a:cubicBezTo>
                    <a:pt x="24" y="25"/>
                    <a:pt x="26" y="23"/>
                    <a:pt x="28" y="22"/>
                  </a:cubicBezTo>
                  <a:moveTo>
                    <a:pt x="69" y="0"/>
                  </a:moveTo>
                  <a:cubicBezTo>
                    <a:pt x="68" y="0"/>
                    <a:pt x="68" y="0"/>
                    <a:pt x="66" y="1"/>
                  </a:cubicBezTo>
                  <a:cubicBezTo>
                    <a:pt x="65" y="2"/>
                    <a:pt x="63" y="3"/>
                    <a:pt x="60" y="4"/>
                  </a:cubicBezTo>
                  <a:cubicBezTo>
                    <a:pt x="58" y="5"/>
                    <a:pt x="55" y="7"/>
                    <a:pt x="52" y="8"/>
                  </a:cubicBezTo>
                  <a:cubicBezTo>
                    <a:pt x="45" y="13"/>
                    <a:pt x="38" y="17"/>
                    <a:pt x="31" y="20"/>
                  </a:cubicBezTo>
                  <a:cubicBezTo>
                    <a:pt x="33" y="19"/>
                    <a:pt x="35" y="18"/>
                    <a:pt x="37" y="17"/>
                  </a:cubicBezTo>
                  <a:cubicBezTo>
                    <a:pt x="47" y="12"/>
                    <a:pt x="55" y="8"/>
                    <a:pt x="60" y="5"/>
                  </a:cubicBezTo>
                  <a:cubicBezTo>
                    <a:pt x="63" y="3"/>
                    <a:pt x="65" y="2"/>
                    <a:pt x="67" y="1"/>
                  </a:cubicBezTo>
                  <a:cubicBezTo>
                    <a:pt x="68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Freeform 252">
              <a:extLst>
                <a:ext uri="{FF2B5EF4-FFF2-40B4-BE49-F238E27FC236}">
                  <a16:creationId xmlns:a16="http://schemas.microsoft.com/office/drawing/2014/main" id="{CE828D6C-86A9-7D5C-BA7D-810C5C40F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" y="1579"/>
              <a:ext cx="56" cy="80"/>
            </a:xfrm>
            <a:custGeom>
              <a:avLst/>
              <a:gdLst>
                <a:gd name="T0" fmla="*/ 34 w 34"/>
                <a:gd name="T1" fmla="*/ 0 h 49"/>
                <a:gd name="T2" fmla="*/ 0 w 34"/>
                <a:gd name="T3" fmla="*/ 41 h 49"/>
                <a:gd name="T4" fmla="*/ 0 w 34"/>
                <a:gd name="T5" fmla="*/ 46 h 49"/>
                <a:gd name="T6" fmla="*/ 4 w 34"/>
                <a:gd name="T7" fmla="*/ 49 h 49"/>
                <a:gd name="T8" fmla="*/ 4 w 34"/>
                <a:gd name="T9" fmla="*/ 49 h 49"/>
                <a:gd name="T10" fmla="*/ 8 w 34"/>
                <a:gd name="T11" fmla="*/ 43 h 49"/>
                <a:gd name="T12" fmla="*/ 16 w 34"/>
                <a:gd name="T13" fmla="*/ 26 h 49"/>
                <a:gd name="T14" fmla="*/ 20 w 34"/>
                <a:gd name="T15" fmla="*/ 15 h 49"/>
                <a:gd name="T16" fmla="*/ 34 w 34"/>
                <a:gd name="T1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9">
                  <a:moveTo>
                    <a:pt x="34" y="0"/>
                  </a:moveTo>
                  <a:cubicBezTo>
                    <a:pt x="18" y="6"/>
                    <a:pt x="2" y="24"/>
                    <a:pt x="0" y="41"/>
                  </a:cubicBezTo>
                  <a:cubicBezTo>
                    <a:pt x="0" y="43"/>
                    <a:pt x="0" y="44"/>
                    <a:pt x="0" y="46"/>
                  </a:cubicBezTo>
                  <a:cubicBezTo>
                    <a:pt x="1" y="47"/>
                    <a:pt x="2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7" y="48"/>
                    <a:pt x="8" y="45"/>
                    <a:pt x="8" y="43"/>
                  </a:cubicBezTo>
                  <a:cubicBezTo>
                    <a:pt x="10" y="37"/>
                    <a:pt x="12" y="31"/>
                    <a:pt x="16" y="26"/>
                  </a:cubicBezTo>
                  <a:cubicBezTo>
                    <a:pt x="17" y="23"/>
                    <a:pt x="18" y="19"/>
                    <a:pt x="20" y="15"/>
                  </a:cubicBezTo>
                  <a:cubicBezTo>
                    <a:pt x="25" y="7"/>
                    <a:pt x="32" y="1"/>
                    <a:pt x="34" y="0"/>
                  </a:cubicBezTo>
                </a:path>
              </a:pathLst>
            </a:custGeom>
            <a:solidFill>
              <a:srgbClr val="D7BC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Freeform 253">
              <a:extLst>
                <a:ext uri="{FF2B5EF4-FFF2-40B4-BE49-F238E27FC236}">
                  <a16:creationId xmlns:a16="http://schemas.microsoft.com/office/drawing/2014/main" id="{66B8E2FB-30F5-ECE1-AE5B-5BFCF6C2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0" y="1577"/>
              <a:ext cx="31" cy="44"/>
            </a:xfrm>
            <a:custGeom>
              <a:avLst/>
              <a:gdLst>
                <a:gd name="T0" fmla="*/ 19 w 19"/>
                <a:gd name="T1" fmla="*/ 0 h 27"/>
                <a:gd name="T2" fmla="*/ 18 w 19"/>
                <a:gd name="T3" fmla="*/ 1 h 27"/>
                <a:gd name="T4" fmla="*/ 4 w 19"/>
                <a:gd name="T5" fmla="*/ 16 h 27"/>
                <a:gd name="T6" fmla="*/ 0 w 19"/>
                <a:gd name="T7" fmla="*/ 27 h 27"/>
                <a:gd name="T8" fmla="*/ 19 w 19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7">
                  <a:moveTo>
                    <a:pt x="19" y="0"/>
                  </a:moveTo>
                  <a:cubicBezTo>
                    <a:pt x="19" y="1"/>
                    <a:pt x="18" y="1"/>
                    <a:pt x="18" y="1"/>
                  </a:cubicBezTo>
                  <a:cubicBezTo>
                    <a:pt x="16" y="2"/>
                    <a:pt x="9" y="8"/>
                    <a:pt x="4" y="16"/>
                  </a:cubicBezTo>
                  <a:cubicBezTo>
                    <a:pt x="2" y="20"/>
                    <a:pt x="1" y="24"/>
                    <a:pt x="0" y="27"/>
                  </a:cubicBezTo>
                  <a:cubicBezTo>
                    <a:pt x="5" y="17"/>
                    <a:pt x="12" y="7"/>
                    <a:pt x="19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Freeform 254">
              <a:extLst>
                <a:ext uri="{FF2B5EF4-FFF2-40B4-BE49-F238E27FC236}">
                  <a16:creationId xmlns:a16="http://schemas.microsoft.com/office/drawing/2014/main" id="{AA6B8430-3498-CE89-311C-85B982BFB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8" y="1045"/>
              <a:ext cx="285" cy="484"/>
            </a:xfrm>
            <a:custGeom>
              <a:avLst/>
              <a:gdLst>
                <a:gd name="T0" fmla="*/ 173 w 173"/>
                <a:gd name="T1" fmla="*/ 244 h 294"/>
                <a:gd name="T2" fmla="*/ 153 w 173"/>
                <a:gd name="T3" fmla="*/ 201 h 294"/>
                <a:gd name="T4" fmla="*/ 163 w 173"/>
                <a:gd name="T5" fmla="*/ 174 h 294"/>
                <a:gd name="T6" fmla="*/ 160 w 173"/>
                <a:gd name="T7" fmla="*/ 145 h 294"/>
                <a:gd name="T8" fmla="*/ 145 w 173"/>
                <a:gd name="T9" fmla="*/ 135 h 294"/>
                <a:gd name="T10" fmla="*/ 133 w 173"/>
                <a:gd name="T11" fmla="*/ 115 h 294"/>
                <a:gd name="T12" fmla="*/ 133 w 173"/>
                <a:gd name="T13" fmla="*/ 92 h 294"/>
                <a:gd name="T14" fmla="*/ 109 w 173"/>
                <a:gd name="T15" fmla="*/ 32 h 294"/>
                <a:gd name="T16" fmla="*/ 52 w 173"/>
                <a:gd name="T17" fmla="*/ 0 h 294"/>
                <a:gd name="T18" fmla="*/ 10 w 173"/>
                <a:gd name="T19" fmla="*/ 15 h 294"/>
                <a:gd name="T20" fmla="*/ 34 w 173"/>
                <a:gd name="T21" fmla="*/ 67 h 294"/>
                <a:gd name="T22" fmla="*/ 53 w 173"/>
                <a:gd name="T23" fmla="*/ 89 h 294"/>
                <a:gd name="T24" fmla="*/ 58 w 173"/>
                <a:gd name="T25" fmla="*/ 116 h 294"/>
                <a:gd name="T26" fmla="*/ 45 w 173"/>
                <a:gd name="T27" fmla="*/ 138 h 294"/>
                <a:gd name="T28" fmla="*/ 50 w 173"/>
                <a:gd name="T29" fmla="*/ 187 h 294"/>
                <a:gd name="T30" fmla="*/ 45 w 173"/>
                <a:gd name="T31" fmla="*/ 201 h 294"/>
                <a:gd name="T32" fmla="*/ 34 w 173"/>
                <a:gd name="T33" fmla="*/ 204 h 294"/>
                <a:gd name="T34" fmla="*/ 12 w 173"/>
                <a:gd name="T35" fmla="*/ 212 h 294"/>
                <a:gd name="T36" fmla="*/ 1 w 173"/>
                <a:gd name="T37" fmla="*/ 230 h 294"/>
                <a:gd name="T38" fmla="*/ 54 w 173"/>
                <a:gd name="T39" fmla="*/ 230 h 294"/>
                <a:gd name="T40" fmla="*/ 37 w 173"/>
                <a:gd name="T41" fmla="*/ 279 h 294"/>
                <a:gd name="T42" fmla="*/ 82 w 173"/>
                <a:gd name="T43" fmla="*/ 292 h 294"/>
                <a:gd name="T44" fmla="*/ 131 w 173"/>
                <a:gd name="T45" fmla="*/ 272 h 294"/>
                <a:gd name="T46" fmla="*/ 140 w 173"/>
                <a:gd name="T47" fmla="*/ 270 h 294"/>
                <a:gd name="T48" fmla="*/ 142 w 173"/>
                <a:gd name="T49" fmla="*/ 258 h 294"/>
                <a:gd name="T50" fmla="*/ 138 w 173"/>
                <a:gd name="T51" fmla="*/ 234 h 294"/>
                <a:gd name="T52" fmla="*/ 173 w 173"/>
                <a:gd name="T53" fmla="*/ 24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94">
                  <a:moveTo>
                    <a:pt x="173" y="244"/>
                  </a:moveTo>
                  <a:cubicBezTo>
                    <a:pt x="159" y="236"/>
                    <a:pt x="150" y="218"/>
                    <a:pt x="153" y="201"/>
                  </a:cubicBezTo>
                  <a:cubicBezTo>
                    <a:pt x="155" y="192"/>
                    <a:pt x="160" y="183"/>
                    <a:pt x="163" y="174"/>
                  </a:cubicBezTo>
                  <a:cubicBezTo>
                    <a:pt x="166" y="164"/>
                    <a:pt x="167" y="153"/>
                    <a:pt x="160" y="145"/>
                  </a:cubicBezTo>
                  <a:cubicBezTo>
                    <a:pt x="156" y="141"/>
                    <a:pt x="150" y="139"/>
                    <a:pt x="145" y="135"/>
                  </a:cubicBezTo>
                  <a:cubicBezTo>
                    <a:pt x="139" y="130"/>
                    <a:pt x="135" y="123"/>
                    <a:pt x="133" y="115"/>
                  </a:cubicBezTo>
                  <a:cubicBezTo>
                    <a:pt x="132" y="107"/>
                    <a:pt x="133" y="100"/>
                    <a:pt x="133" y="92"/>
                  </a:cubicBezTo>
                  <a:cubicBezTo>
                    <a:pt x="132" y="70"/>
                    <a:pt x="123" y="48"/>
                    <a:pt x="109" y="32"/>
                  </a:cubicBezTo>
                  <a:cubicBezTo>
                    <a:pt x="94" y="15"/>
                    <a:pt x="74" y="4"/>
                    <a:pt x="52" y="0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3" y="34"/>
                    <a:pt x="21" y="52"/>
                    <a:pt x="34" y="67"/>
                  </a:cubicBezTo>
                  <a:cubicBezTo>
                    <a:pt x="40" y="74"/>
                    <a:pt x="47" y="81"/>
                    <a:pt x="53" y="89"/>
                  </a:cubicBezTo>
                  <a:cubicBezTo>
                    <a:pt x="58" y="97"/>
                    <a:pt x="61" y="107"/>
                    <a:pt x="58" y="116"/>
                  </a:cubicBezTo>
                  <a:cubicBezTo>
                    <a:pt x="55" y="124"/>
                    <a:pt x="47" y="130"/>
                    <a:pt x="45" y="138"/>
                  </a:cubicBezTo>
                  <a:cubicBezTo>
                    <a:pt x="39" y="154"/>
                    <a:pt x="53" y="171"/>
                    <a:pt x="50" y="187"/>
                  </a:cubicBezTo>
                  <a:cubicBezTo>
                    <a:pt x="50" y="192"/>
                    <a:pt x="47" y="197"/>
                    <a:pt x="45" y="201"/>
                  </a:cubicBezTo>
                  <a:cubicBezTo>
                    <a:pt x="41" y="203"/>
                    <a:pt x="38" y="204"/>
                    <a:pt x="34" y="204"/>
                  </a:cubicBezTo>
                  <a:cubicBezTo>
                    <a:pt x="27" y="206"/>
                    <a:pt x="19" y="208"/>
                    <a:pt x="12" y="212"/>
                  </a:cubicBezTo>
                  <a:cubicBezTo>
                    <a:pt x="6" y="216"/>
                    <a:pt x="0" y="223"/>
                    <a:pt x="1" y="230"/>
                  </a:cubicBezTo>
                  <a:cubicBezTo>
                    <a:pt x="19" y="229"/>
                    <a:pt x="37" y="229"/>
                    <a:pt x="54" y="230"/>
                  </a:cubicBezTo>
                  <a:cubicBezTo>
                    <a:pt x="42" y="246"/>
                    <a:pt x="33" y="276"/>
                    <a:pt x="37" y="279"/>
                  </a:cubicBezTo>
                  <a:cubicBezTo>
                    <a:pt x="41" y="284"/>
                    <a:pt x="75" y="292"/>
                    <a:pt x="82" y="292"/>
                  </a:cubicBezTo>
                  <a:cubicBezTo>
                    <a:pt x="109" y="294"/>
                    <a:pt x="104" y="276"/>
                    <a:pt x="131" y="272"/>
                  </a:cubicBezTo>
                  <a:cubicBezTo>
                    <a:pt x="134" y="272"/>
                    <a:pt x="138" y="272"/>
                    <a:pt x="140" y="270"/>
                  </a:cubicBezTo>
                  <a:cubicBezTo>
                    <a:pt x="143" y="267"/>
                    <a:pt x="143" y="262"/>
                    <a:pt x="142" y="258"/>
                  </a:cubicBezTo>
                  <a:cubicBezTo>
                    <a:pt x="141" y="250"/>
                    <a:pt x="139" y="242"/>
                    <a:pt x="138" y="234"/>
                  </a:cubicBezTo>
                  <a:cubicBezTo>
                    <a:pt x="147" y="242"/>
                    <a:pt x="161" y="246"/>
                    <a:pt x="173" y="24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Freeform 255">
              <a:extLst>
                <a:ext uri="{FF2B5EF4-FFF2-40B4-BE49-F238E27FC236}">
                  <a16:creationId xmlns:a16="http://schemas.microsoft.com/office/drawing/2014/main" id="{A148C0EF-13ED-B709-230E-472938E1A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1075"/>
              <a:ext cx="81" cy="413"/>
            </a:xfrm>
            <a:custGeom>
              <a:avLst/>
              <a:gdLst>
                <a:gd name="T0" fmla="*/ 20 w 49"/>
                <a:gd name="T1" fmla="*/ 251 h 251"/>
                <a:gd name="T2" fmla="*/ 20 w 49"/>
                <a:gd name="T3" fmla="*/ 250 h 251"/>
                <a:gd name="T4" fmla="*/ 19 w 49"/>
                <a:gd name="T5" fmla="*/ 248 h 251"/>
                <a:gd name="T6" fmla="*/ 20 w 49"/>
                <a:gd name="T7" fmla="*/ 240 h 251"/>
                <a:gd name="T8" fmla="*/ 25 w 49"/>
                <a:gd name="T9" fmla="*/ 228 h 251"/>
                <a:gd name="T10" fmla="*/ 35 w 49"/>
                <a:gd name="T11" fmla="*/ 214 h 251"/>
                <a:gd name="T12" fmla="*/ 44 w 49"/>
                <a:gd name="T13" fmla="*/ 196 h 251"/>
                <a:gd name="T14" fmla="*/ 45 w 49"/>
                <a:gd name="T15" fmla="*/ 185 h 251"/>
                <a:gd name="T16" fmla="*/ 41 w 49"/>
                <a:gd name="T17" fmla="*/ 174 h 251"/>
                <a:gd name="T18" fmla="*/ 34 w 49"/>
                <a:gd name="T19" fmla="*/ 164 h 251"/>
                <a:gd name="T20" fmla="*/ 30 w 49"/>
                <a:gd name="T21" fmla="*/ 151 h 251"/>
                <a:gd name="T22" fmla="*/ 34 w 49"/>
                <a:gd name="T23" fmla="*/ 137 h 251"/>
                <a:gd name="T24" fmla="*/ 42 w 49"/>
                <a:gd name="T25" fmla="*/ 125 h 251"/>
                <a:gd name="T26" fmla="*/ 46 w 49"/>
                <a:gd name="T27" fmla="*/ 112 h 251"/>
                <a:gd name="T28" fmla="*/ 46 w 49"/>
                <a:gd name="T29" fmla="*/ 98 h 251"/>
                <a:gd name="T30" fmla="*/ 36 w 49"/>
                <a:gd name="T31" fmla="*/ 75 h 251"/>
                <a:gd name="T32" fmla="*/ 22 w 49"/>
                <a:gd name="T33" fmla="*/ 56 h 251"/>
                <a:gd name="T34" fmla="*/ 10 w 49"/>
                <a:gd name="T35" fmla="*/ 40 h 251"/>
                <a:gd name="T36" fmla="*/ 0 w 49"/>
                <a:gd name="T37" fmla="*/ 11 h 251"/>
                <a:gd name="T38" fmla="*/ 1 w 49"/>
                <a:gd name="T39" fmla="*/ 3 h 251"/>
                <a:gd name="T40" fmla="*/ 1 w 49"/>
                <a:gd name="T41" fmla="*/ 1 h 251"/>
                <a:gd name="T42" fmla="*/ 1 w 49"/>
                <a:gd name="T43" fmla="*/ 11 h 251"/>
                <a:gd name="T44" fmla="*/ 11 w 49"/>
                <a:gd name="T45" fmla="*/ 39 h 251"/>
                <a:gd name="T46" fmla="*/ 23 w 49"/>
                <a:gd name="T47" fmla="*/ 55 h 251"/>
                <a:gd name="T48" fmla="*/ 38 w 49"/>
                <a:gd name="T49" fmla="*/ 74 h 251"/>
                <a:gd name="T50" fmla="*/ 48 w 49"/>
                <a:gd name="T51" fmla="*/ 98 h 251"/>
                <a:gd name="T52" fmla="*/ 48 w 49"/>
                <a:gd name="T53" fmla="*/ 112 h 251"/>
                <a:gd name="T54" fmla="*/ 43 w 49"/>
                <a:gd name="T55" fmla="*/ 126 h 251"/>
                <a:gd name="T56" fmla="*/ 32 w 49"/>
                <a:gd name="T57" fmla="*/ 151 h 251"/>
                <a:gd name="T58" fmla="*/ 36 w 49"/>
                <a:gd name="T59" fmla="*/ 163 h 251"/>
                <a:gd name="T60" fmla="*/ 43 w 49"/>
                <a:gd name="T61" fmla="*/ 173 h 251"/>
                <a:gd name="T62" fmla="*/ 47 w 49"/>
                <a:gd name="T63" fmla="*/ 185 h 251"/>
                <a:gd name="T64" fmla="*/ 46 w 49"/>
                <a:gd name="T65" fmla="*/ 197 h 251"/>
                <a:gd name="T66" fmla="*/ 36 w 49"/>
                <a:gd name="T67" fmla="*/ 215 h 251"/>
                <a:gd name="T68" fmla="*/ 26 w 49"/>
                <a:gd name="T69" fmla="*/ 228 h 251"/>
                <a:gd name="T70" fmla="*/ 21 w 49"/>
                <a:gd name="T71" fmla="*/ 240 h 251"/>
                <a:gd name="T72" fmla="*/ 20 w 49"/>
                <a:gd name="T73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" h="251">
                  <a:moveTo>
                    <a:pt x="20" y="251"/>
                  </a:moveTo>
                  <a:cubicBezTo>
                    <a:pt x="20" y="251"/>
                    <a:pt x="20" y="250"/>
                    <a:pt x="20" y="250"/>
                  </a:cubicBezTo>
                  <a:cubicBezTo>
                    <a:pt x="20" y="249"/>
                    <a:pt x="19" y="249"/>
                    <a:pt x="19" y="248"/>
                  </a:cubicBezTo>
                  <a:cubicBezTo>
                    <a:pt x="19" y="246"/>
                    <a:pt x="19" y="243"/>
                    <a:pt x="20" y="240"/>
                  </a:cubicBezTo>
                  <a:cubicBezTo>
                    <a:pt x="21" y="236"/>
                    <a:pt x="22" y="232"/>
                    <a:pt x="25" y="228"/>
                  </a:cubicBezTo>
                  <a:cubicBezTo>
                    <a:pt x="27" y="223"/>
                    <a:pt x="31" y="219"/>
                    <a:pt x="35" y="214"/>
                  </a:cubicBezTo>
                  <a:cubicBezTo>
                    <a:pt x="38" y="209"/>
                    <a:pt x="42" y="203"/>
                    <a:pt x="44" y="196"/>
                  </a:cubicBezTo>
                  <a:cubicBezTo>
                    <a:pt x="45" y="193"/>
                    <a:pt x="46" y="189"/>
                    <a:pt x="45" y="185"/>
                  </a:cubicBezTo>
                  <a:cubicBezTo>
                    <a:pt x="45" y="181"/>
                    <a:pt x="43" y="178"/>
                    <a:pt x="41" y="174"/>
                  </a:cubicBezTo>
                  <a:cubicBezTo>
                    <a:pt x="39" y="171"/>
                    <a:pt x="36" y="168"/>
                    <a:pt x="34" y="164"/>
                  </a:cubicBezTo>
                  <a:cubicBezTo>
                    <a:pt x="32" y="160"/>
                    <a:pt x="30" y="155"/>
                    <a:pt x="30" y="151"/>
                  </a:cubicBezTo>
                  <a:cubicBezTo>
                    <a:pt x="30" y="146"/>
                    <a:pt x="32" y="141"/>
                    <a:pt x="34" y="137"/>
                  </a:cubicBezTo>
                  <a:cubicBezTo>
                    <a:pt x="37" y="133"/>
                    <a:pt x="39" y="129"/>
                    <a:pt x="42" y="125"/>
                  </a:cubicBezTo>
                  <a:cubicBezTo>
                    <a:pt x="44" y="121"/>
                    <a:pt x="46" y="116"/>
                    <a:pt x="46" y="112"/>
                  </a:cubicBezTo>
                  <a:cubicBezTo>
                    <a:pt x="47" y="107"/>
                    <a:pt x="47" y="103"/>
                    <a:pt x="46" y="98"/>
                  </a:cubicBezTo>
                  <a:cubicBezTo>
                    <a:pt x="44" y="90"/>
                    <a:pt x="41" y="82"/>
                    <a:pt x="36" y="75"/>
                  </a:cubicBezTo>
                  <a:cubicBezTo>
                    <a:pt x="32" y="68"/>
                    <a:pt x="27" y="62"/>
                    <a:pt x="22" y="56"/>
                  </a:cubicBezTo>
                  <a:cubicBezTo>
                    <a:pt x="17" y="50"/>
                    <a:pt x="13" y="45"/>
                    <a:pt x="10" y="40"/>
                  </a:cubicBezTo>
                  <a:cubicBezTo>
                    <a:pt x="3" y="29"/>
                    <a:pt x="0" y="18"/>
                    <a:pt x="0" y="11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1" y="1"/>
                    <a:pt x="1" y="0"/>
                    <a:pt x="1" y="1"/>
                  </a:cubicBezTo>
                  <a:cubicBezTo>
                    <a:pt x="2" y="1"/>
                    <a:pt x="0" y="4"/>
                    <a:pt x="1" y="11"/>
                  </a:cubicBezTo>
                  <a:cubicBezTo>
                    <a:pt x="1" y="18"/>
                    <a:pt x="4" y="28"/>
                    <a:pt x="11" y="39"/>
                  </a:cubicBezTo>
                  <a:cubicBezTo>
                    <a:pt x="14" y="44"/>
                    <a:pt x="19" y="49"/>
                    <a:pt x="23" y="55"/>
                  </a:cubicBezTo>
                  <a:cubicBezTo>
                    <a:pt x="28" y="61"/>
                    <a:pt x="33" y="67"/>
                    <a:pt x="38" y="74"/>
                  </a:cubicBezTo>
                  <a:cubicBezTo>
                    <a:pt x="42" y="81"/>
                    <a:pt x="46" y="89"/>
                    <a:pt x="48" y="98"/>
                  </a:cubicBezTo>
                  <a:cubicBezTo>
                    <a:pt x="49" y="103"/>
                    <a:pt x="49" y="107"/>
                    <a:pt x="48" y="112"/>
                  </a:cubicBezTo>
                  <a:cubicBezTo>
                    <a:pt x="48" y="117"/>
                    <a:pt x="46" y="121"/>
                    <a:pt x="43" y="126"/>
                  </a:cubicBezTo>
                  <a:cubicBezTo>
                    <a:pt x="39" y="134"/>
                    <a:pt x="33" y="142"/>
                    <a:pt x="32" y="151"/>
                  </a:cubicBezTo>
                  <a:cubicBezTo>
                    <a:pt x="32" y="155"/>
                    <a:pt x="34" y="159"/>
                    <a:pt x="36" y="163"/>
                  </a:cubicBezTo>
                  <a:cubicBezTo>
                    <a:pt x="38" y="166"/>
                    <a:pt x="40" y="170"/>
                    <a:pt x="43" y="173"/>
                  </a:cubicBezTo>
                  <a:cubicBezTo>
                    <a:pt x="45" y="177"/>
                    <a:pt x="47" y="181"/>
                    <a:pt x="47" y="185"/>
                  </a:cubicBezTo>
                  <a:cubicBezTo>
                    <a:pt x="48" y="189"/>
                    <a:pt x="47" y="193"/>
                    <a:pt x="46" y="197"/>
                  </a:cubicBezTo>
                  <a:cubicBezTo>
                    <a:pt x="44" y="204"/>
                    <a:pt x="39" y="210"/>
                    <a:pt x="36" y="215"/>
                  </a:cubicBezTo>
                  <a:cubicBezTo>
                    <a:pt x="32" y="220"/>
                    <a:pt x="28" y="224"/>
                    <a:pt x="26" y="228"/>
                  </a:cubicBezTo>
                  <a:cubicBezTo>
                    <a:pt x="23" y="233"/>
                    <a:pt x="21" y="236"/>
                    <a:pt x="21" y="240"/>
                  </a:cubicBezTo>
                  <a:cubicBezTo>
                    <a:pt x="19" y="247"/>
                    <a:pt x="20" y="251"/>
                    <a:pt x="20" y="25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Freeform 256">
              <a:extLst>
                <a:ext uri="{FF2B5EF4-FFF2-40B4-BE49-F238E27FC236}">
                  <a16:creationId xmlns:a16="http://schemas.microsoft.com/office/drawing/2014/main" id="{5156C1B3-FC51-5DC4-57E7-45DF3ED6D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8" y="2017"/>
              <a:ext cx="169" cy="123"/>
            </a:xfrm>
            <a:custGeom>
              <a:avLst/>
              <a:gdLst>
                <a:gd name="T0" fmla="*/ 100 w 103"/>
                <a:gd name="T1" fmla="*/ 1 h 75"/>
                <a:gd name="T2" fmla="*/ 83 w 103"/>
                <a:gd name="T3" fmla="*/ 0 h 75"/>
                <a:gd name="T4" fmla="*/ 64 w 103"/>
                <a:gd name="T5" fmla="*/ 27 h 75"/>
                <a:gd name="T6" fmla="*/ 35 w 103"/>
                <a:gd name="T7" fmla="*/ 46 h 75"/>
                <a:gd name="T8" fmla="*/ 0 w 103"/>
                <a:gd name="T9" fmla="*/ 54 h 75"/>
                <a:gd name="T10" fmla="*/ 2 w 103"/>
                <a:gd name="T11" fmla="*/ 65 h 75"/>
                <a:gd name="T12" fmla="*/ 9 w 103"/>
                <a:gd name="T13" fmla="*/ 73 h 75"/>
                <a:gd name="T14" fmla="*/ 19 w 103"/>
                <a:gd name="T15" fmla="*/ 74 h 75"/>
                <a:gd name="T16" fmla="*/ 71 w 103"/>
                <a:gd name="T17" fmla="*/ 59 h 75"/>
                <a:gd name="T18" fmla="*/ 95 w 103"/>
                <a:gd name="T19" fmla="*/ 42 h 75"/>
                <a:gd name="T20" fmla="*/ 100 w 103"/>
                <a:gd name="T21" fmla="*/ 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75">
                  <a:moveTo>
                    <a:pt x="100" y="1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76" y="9"/>
                    <a:pt x="71" y="19"/>
                    <a:pt x="64" y="27"/>
                  </a:cubicBezTo>
                  <a:cubicBezTo>
                    <a:pt x="57" y="36"/>
                    <a:pt x="46" y="42"/>
                    <a:pt x="35" y="46"/>
                  </a:cubicBezTo>
                  <a:cubicBezTo>
                    <a:pt x="24" y="50"/>
                    <a:pt x="12" y="52"/>
                    <a:pt x="0" y="54"/>
                  </a:cubicBezTo>
                  <a:cubicBezTo>
                    <a:pt x="1" y="58"/>
                    <a:pt x="1" y="61"/>
                    <a:pt x="2" y="65"/>
                  </a:cubicBezTo>
                  <a:cubicBezTo>
                    <a:pt x="3" y="68"/>
                    <a:pt x="5" y="72"/>
                    <a:pt x="9" y="73"/>
                  </a:cubicBezTo>
                  <a:cubicBezTo>
                    <a:pt x="12" y="75"/>
                    <a:pt x="15" y="74"/>
                    <a:pt x="19" y="74"/>
                  </a:cubicBezTo>
                  <a:cubicBezTo>
                    <a:pt x="37" y="72"/>
                    <a:pt x="55" y="67"/>
                    <a:pt x="71" y="59"/>
                  </a:cubicBezTo>
                  <a:cubicBezTo>
                    <a:pt x="81" y="55"/>
                    <a:pt x="90" y="50"/>
                    <a:pt x="95" y="42"/>
                  </a:cubicBezTo>
                  <a:cubicBezTo>
                    <a:pt x="103" y="30"/>
                    <a:pt x="102" y="15"/>
                    <a:pt x="100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Freeform 257">
              <a:extLst>
                <a:ext uri="{FF2B5EF4-FFF2-40B4-BE49-F238E27FC236}">
                  <a16:creationId xmlns:a16="http://schemas.microsoft.com/office/drawing/2014/main" id="{CB00C602-B991-9A43-400D-B65AFAC21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0" y="2372"/>
              <a:ext cx="403" cy="562"/>
            </a:xfrm>
            <a:custGeom>
              <a:avLst/>
              <a:gdLst>
                <a:gd name="T0" fmla="*/ 0 w 245"/>
                <a:gd name="T1" fmla="*/ 8 h 341"/>
                <a:gd name="T2" fmla="*/ 147 w 245"/>
                <a:gd name="T3" fmla="*/ 341 h 341"/>
                <a:gd name="T4" fmla="*/ 242 w 245"/>
                <a:gd name="T5" fmla="*/ 297 h 341"/>
                <a:gd name="T6" fmla="*/ 126 w 245"/>
                <a:gd name="T7" fmla="*/ 0 h 341"/>
                <a:gd name="T8" fmla="*/ 0 w 245"/>
                <a:gd name="T9" fmla="*/ 8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341">
                  <a:moveTo>
                    <a:pt x="0" y="8"/>
                  </a:moveTo>
                  <a:cubicBezTo>
                    <a:pt x="3" y="12"/>
                    <a:pt x="147" y="341"/>
                    <a:pt x="147" y="341"/>
                  </a:cubicBezTo>
                  <a:cubicBezTo>
                    <a:pt x="147" y="341"/>
                    <a:pt x="245" y="300"/>
                    <a:pt x="242" y="297"/>
                  </a:cubicBezTo>
                  <a:cubicBezTo>
                    <a:pt x="240" y="293"/>
                    <a:pt x="126" y="0"/>
                    <a:pt x="126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Freeform 258">
              <a:extLst>
                <a:ext uri="{FF2B5EF4-FFF2-40B4-BE49-F238E27FC236}">
                  <a16:creationId xmlns:a16="http://schemas.microsoft.com/office/drawing/2014/main" id="{70794C50-A244-61AC-D3F5-FC6C43923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0" y="1961"/>
              <a:ext cx="894" cy="1052"/>
            </a:xfrm>
            <a:custGeom>
              <a:avLst/>
              <a:gdLst>
                <a:gd name="T0" fmla="*/ 494 w 543"/>
                <a:gd name="T1" fmla="*/ 1 h 639"/>
                <a:gd name="T2" fmla="*/ 300 w 543"/>
                <a:gd name="T3" fmla="*/ 0 h 639"/>
                <a:gd name="T4" fmla="*/ 297 w 543"/>
                <a:gd name="T5" fmla="*/ 43 h 639"/>
                <a:gd name="T6" fmla="*/ 262 w 543"/>
                <a:gd name="T7" fmla="*/ 85 h 639"/>
                <a:gd name="T8" fmla="*/ 30 w 543"/>
                <a:gd name="T9" fmla="*/ 167 h 639"/>
                <a:gd name="T10" fmla="*/ 3 w 543"/>
                <a:gd name="T11" fmla="*/ 254 h 639"/>
                <a:gd name="T12" fmla="*/ 161 w 543"/>
                <a:gd name="T13" fmla="*/ 639 h 639"/>
                <a:gd name="T14" fmla="*/ 273 w 543"/>
                <a:gd name="T15" fmla="*/ 592 h 639"/>
                <a:gd name="T16" fmla="*/ 182 w 543"/>
                <a:gd name="T17" fmla="*/ 301 h 639"/>
                <a:gd name="T18" fmla="*/ 176 w 543"/>
                <a:gd name="T19" fmla="*/ 264 h 639"/>
                <a:gd name="T20" fmla="*/ 484 w 543"/>
                <a:gd name="T21" fmla="*/ 260 h 639"/>
                <a:gd name="T22" fmla="*/ 541 w 543"/>
                <a:gd name="T23" fmla="*/ 163 h 639"/>
                <a:gd name="T24" fmla="*/ 494 w 543"/>
                <a:gd name="T25" fmla="*/ 1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3" h="639">
                  <a:moveTo>
                    <a:pt x="494" y="1"/>
                  </a:moveTo>
                  <a:cubicBezTo>
                    <a:pt x="300" y="0"/>
                    <a:pt x="300" y="0"/>
                    <a:pt x="300" y="0"/>
                  </a:cubicBezTo>
                  <a:cubicBezTo>
                    <a:pt x="297" y="43"/>
                    <a:pt x="297" y="43"/>
                    <a:pt x="297" y="43"/>
                  </a:cubicBezTo>
                  <a:cubicBezTo>
                    <a:pt x="287" y="68"/>
                    <a:pt x="276" y="80"/>
                    <a:pt x="262" y="85"/>
                  </a:cubicBezTo>
                  <a:cubicBezTo>
                    <a:pt x="203" y="104"/>
                    <a:pt x="52" y="154"/>
                    <a:pt x="30" y="167"/>
                  </a:cubicBezTo>
                  <a:cubicBezTo>
                    <a:pt x="3" y="183"/>
                    <a:pt x="7" y="225"/>
                    <a:pt x="3" y="254"/>
                  </a:cubicBezTo>
                  <a:cubicBezTo>
                    <a:pt x="0" y="282"/>
                    <a:pt x="161" y="639"/>
                    <a:pt x="161" y="639"/>
                  </a:cubicBezTo>
                  <a:cubicBezTo>
                    <a:pt x="273" y="592"/>
                    <a:pt x="273" y="592"/>
                    <a:pt x="273" y="592"/>
                  </a:cubicBezTo>
                  <a:cubicBezTo>
                    <a:pt x="182" y="301"/>
                    <a:pt x="182" y="301"/>
                    <a:pt x="182" y="301"/>
                  </a:cubicBezTo>
                  <a:cubicBezTo>
                    <a:pt x="176" y="264"/>
                    <a:pt x="176" y="264"/>
                    <a:pt x="176" y="264"/>
                  </a:cubicBezTo>
                  <a:cubicBezTo>
                    <a:pt x="484" y="260"/>
                    <a:pt x="484" y="260"/>
                    <a:pt x="484" y="260"/>
                  </a:cubicBezTo>
                  <a:cubicBezTo>
                    <a:pt x="484" y="260"/>
                    <a:pt x="543" y="245"/>
                    <a:pt x="541" y="163"/>
                  </a:cubicBezTo>
                  <a:cubicBezTo>
                    <a:pt x="540" y="82"/>
                    <a:pt x="494" y="1"/>
                    <a:pt x="494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Freeform 259">
              <a:extLst>
                <a:ext uri="{FF2B5EF4-FFF2-40B4-BE49-F238E27FC236}">
                  <a16:creationId xmlns:a16="http://schemas.microsoft.com/office/drawing/2014/main" id="{A8210A56-515E-2CDB-F480-B670E803E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9" y="2196"/>
              <a:ext cx="119" cy="191"/>
            </a:xfrm>
            <a:custGeom>
              <a:avLst/>
              <a:gdLst>
                <a:gd name="T0" fmla="*/ 69 w 72"/>
                <a:gd name="T1" fmla="*/ 0 h 116"/>
                <a:gd name="T2" fmla="*/ 71 w 72"/>
                <a:gd name="T3" fmla="*/ 6 h 116"/>
                <a:gd name="T4" fmla="*/ 72 w 72"/>
                <a:gd name="T5" fmla="*/ 22 h 116"/>
                <a:gd name="T6" fmla="*/ 58 w 72"/>
                <a:gd name="T7" fmla="*/ 72 h 116"/>
                <a:gd name="T8" fmla="*/ 20 w 72"/>
                <a:gd name="T9" fmla="*/ 108 h 116"/>
                <a:gd name="T10" fmla="*/ 6 w 72"/>
                <a:gd name="T11" fmla="*/ 114 h 116"/>
                <a:gd name="T12" fmla="*/ 0 w 72"/>
                <a:gd name="T13" fmla="*/ 115 h 116"/>
                <a:gd name="T14" fmla="*/ 19 w 72"/>
                <a:gd name="T15" fmla="*/ 106 h 116"/>
                <a:gd name="T16" fmla="*/ 56 w 72"/>
                <a:gd name="T17" fmla="*/ 71 h 116"/>
                <a:gd name="T18" fmla="*/ 70 w 72"/>
                <a:gd name="T19" fmla="*/ 22 h 116"/>
                <a:gd name="T20" fmla="*/ 69 w 72"/>
                <a:gd name="T2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116">
                  <a:moveTo>
                    <a:pt x="69" y="0"/>
                  </a:moveTo>
                  <a:cubicBezTo>
                    <a:pt x="69" y="0"/>
                    <a:pt x="70" y="2"/>
                    <a:pt x="71" y="6"/>
                  </a:cubicBezTo>
                  <a:cubicBezTo>
                    <a:pt x="71" y="10"/>
                    <a:pt x="72" y="15"/>
                    <a:pt x="72" y="22"/>
                  </a:cubicBezTo>
                  <a:cubicBezTo>
                    <a:pt x="72" y="35"/>
                    <a:pt x="69" y="54"/>
                    <a:pt x="58" y="72"/>
                  </a:cubicBezTo>
                  <a:cubicBezTo>
                    <a:pt x="47" y="90"/>
                    <a:pt x="32" y="102"/>
                    <a:pt x="20" y="108"/>
                  </a:cubicBezTo>
                  <a:cubicBezTo>
                    <a:pt x="14" y="111"/>
                    <a:pt x="9" y="113"/>
                    <a:pt x="6" y="114"/>
                  </a:cubicBezTo>
                  <a:cubicBezTo>
                    <a:pt x="2" y="115"/>
                    <a:pt x="0" y="116"/>
                    <a:pt x="0" y="115"/>
                  </a:cubicBezTo>
                  <a:cubicBezTo>
                    <a:pt x="0" y="115"/>
                    <a:pt x="8" y="113"/>
                    <a:pt x="19" y="106"/>
                  </a:cubicBezTo>
                  <a:cubicBezTo>
                    <a:pt x="31" y="100"/>
                    <a:pt x="46" y="88"/>
                    <a:pt x="56" y="71"/>
                  </a:cubicBezTo>
                  <a:cubicBezTo>
                    <a:pt x="67" y="53"/>
                    <a:pt x="70" y="35"/>
                    <a:pt x="70" y="22"/>
                  </a:cubicBezTo>
                  <a:cubicBezTo>
                    <a:pt x="71" y="8"/>
                    <a:pt x="69" y="0"/>
                    <a:pt x="69" y="0"/>
                  </a:cubicBezTo>
                  <a:close/>
                </a:path>
              </a:pathLst>
            </a:custGeom>
            <a:solidFill>
              <a:srgbClr val="FF72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Freeform 260">
              <a:extLst>
                <a:ext uri="{FF2B5EF4-FFF2-40B4-BE49-F238E27FC236}">
                  <a16:creationId xmlns:a16="http://schemas.microsoft.com/office/drawing/2014/main" id="{5001A614-8E53-BF85-C2AE-163D0AD93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" y="1966"/>
              <a:ext cx="53" cy="62"/>
            </a:xfrm>
            <a:custGeom>
              <a:avLst/>
              <a:gdLst>
                <a:gd name="T0" fmla="*/ 27 w 32"/>
                <a:gd name="T1" fmla="*/ 3 h 38"/>
                <a:gd name="T2" fmla="*/ 7 w 32"/>
                <a:gd name="T3" fmla="*/ 5 h 38"/>
                <a:gd name="T4" fmla="*/ 1 w 32"/>
                <a:gd name="T5" fmla="*/ 19 h 38"/>
                <a:gd name="T6" fmla="*/ 10 w 32"/>
                <a:gd name="T7" fmla="*/ 33 h 38"/>
                <a:gd name="T8" fmla="*/ 27 w 32"/>
                <a:gd name="T9" fmla="*/ 35 h 38"/>
                <a:gd name="T10" fmla="*/ 32 w 32"/>
                <a:gd name="T11" fmla="*/ 26 h 38"/>
                <a:gd name="T12" fmla="*/ 31 w 32"/>
                <a:gd name="T13" fmla="*/ 15 h 38"/>
                <a:gd name="T14" fmla="*/ 29 w 32"/>
                <a:gd name="T15" fmla="*/ 6 h 38"/>
                <a:gd name="T16" fmla="*/ 20 w 32"/>
                <a:gd name="T17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8">
                  <a:moveTo>
                    <a:pt x="27" y="3"/>
                  </a:moveTo>
                  <a:cubicBezTo>
                    <a:pt x="23" y="0"/>
                    <a:pt x="11" y="1"/>
                    <a:pt x="7" y="5"/>
                  </a:cubicBezTo>
                  <a:cubicBezTo>
                    <a:pt x="2" y="8"/>
                    <a:pt x="0" y="14"/>
                    <a:pt x="1" y="19"/>
                  </a:cubicBezTo>
                  <a:cubicBezTo>
                    <a:pt x="2" y="25"/>
                    <a:pt x="6" y="30"/>
                    <a:pt x="10" y="33"/>
                  </a:cubicBezTo>
                  <a:cubicBezTo>
                    <a:pt x="15" y="36"/>
                    <a:pt x="22" y="38"/>
                    <a:pt x="27" y="35"/>
                  </a:cubicBezTo>
                  <a:cubicBezTo>
                    <a:pt x="30" y="33"/>
                    <a:pt x="31" y="29"/>
                    <a:pt x="32" y="26"/>
                  </a:cubicBezTo>
                  <a:cubicBezTo>
                    <a:pt x="32" y="22"/>
                    <a:pt x="32" y="19"/>
                    <a:pt x="31" y="15"/>
                  </a:cubicBezTo>
                  <a:cubicBezTo>
                    <a:pt x="31" y="12"/>
                    <a:pt x="30" y="8"/>
                    <a:pt x="29" y="6"/>
                  </a:cubicBezTo>
                  <a:cubicBezTo>
                    <a:pt x="27" y="3"/>
                    <a:pt x="23" y="1"/>
                    <a:pt x="20" y="2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Freeform 261">
              <a:extLst>
                <a:ext uri="{FF2B5EF4-FFF2-40B4-BE49-F238E27FC236}">
                  <a16:creationId xmlns:a16="http://schemas.microsoft.com/office/drawing/2014/main" id="{B831ACEC-6C06-0CB2-558B-AB8E2E60F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6" y="1959"/>
              <a:ext cx="425" cy="435"/>
            </a:xfrm>
            <a:custGeom>
              <a:avLst/>
              <a:gdLst>
                <a:gd name="T0" fmla="*/ 213 w 258"/>
                <a:gd name="T1" fmla="*/ 0 h 264"/>
                <a:gd name="T2" fmla="*/ 246 w 258"/>
                <a:gd name="T3" fmla="*/ 93 h 264"/>
                <a:gd name="T4" fmla="*/ 252 w 258"/>
                <a:gd name="T5" fmla="*/ 192 h 264"/>
                <a:gd name="T6" fmla="*/ 223 w 258"/>
                <a:gd name="T7" fmla="*/ 253 h 264"/>
                <a:gd name="T8" fmla="*/ 198 w 258"/>
                <a:gd name="T9" fmla="*/ 262 h 264"/>
                <a:gd name="T10" fmla="*/ 60 w 258"/>
                <a:gd name="T11" fmla="*/ 261 h 264"/>
                <a:gd name="T12" fmla="*/ 32 w 258"/>
                <a:gd name="T13" fmla="*/ 262 h 264"/>
                <a:gd name="T14" fmla="*/ 3 w 258"/>
                <a:gd name="T15" fmla="*/ 262 h 264"/>
                <a:gd name="T16" fmla="*/ 75 w 258"/>
                <a:gd name="T17" fmla="*/ 69 h 264"/>
                <a:gd name="T18" fmla="*/ 62 w 258"/>
                <a:gd name="T19" fmla="*/ 41 h 264"/>
                <a:gd name="T20" fmla="*/ 34 w 258"/>
                <a:gd name="T21" fmla="*/ 34 h 264"/>
                <a:gd name="T22" fmla="*/ 13 w 258"/>
                <a:gd name="T23" fmla="*/ 36 h 264"/>
                <a:gd name="T24" fmla="*/ 11 w 258"/>
                <a:gd name="T25" fmla="*/ 1 h 264"/>
                <a:gd name="T26" fmla="*/ 213 w 258"/>
                <a:gd name="T27" fmla="*/ 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8" h="264">
                  <a:moveTo>
                    <a:pt x="213" y="0"/>
                  </a:moveTo>
                  <a:cubicBezTo>
                    <a:pt x="226" y="30"/>
                    <a:pt x="238" y="61"/>
                    <a:pt x="246" y="93"/>
                  </a:cubicBezTo>
                  <a:cubicBezTo>
                    <a:pt x="254" y="126"/>
                    <a:pt x="258" y="159"/>
                    <a:pt x="252" y="192"/>
                  </a:cubicBezTo>
                  <a:cubicBezTo>
                    <a:pt x="248" y="215"/>
                    <a:pt x="242" y="241"/>
                    <a:pt x="223" y="253"/>
                  </a:cubicBezTo>
                  <a:cubicBezTo>
                    <a:pt x="223" y="253"/>
                    <a:pt x="215" y="261"/>
                    <a:pt x="198" y="262"/>
                  </a:cubicBezTo>
                  <a:cubicBezTo>
                    <a:pt x="162" y="264"/>
                    <a:pt x="97" y="263"/>
                    <a:pt x="60" y="261"/>
                  </a:cubicBezTo>
                  <a:cubicBezTo>
                    <a:pt x="52" y="261"/>
                    <a:pt x="42" y="261"/>
                    <a:pt x="32" y="262"/>
                  </a:cubicBezTo>
                  <a:cubicBezTo>
                    <a:pt x="22" y="262"/>
                    <a:pt x="12" y="263"/>
                    <a:pt x="3" y="262"/>
                  </a:cubicBezTo>
                  <a:cubicBezTo>
                    <a:pt x="56" y="216"/>
                    <a:pt x="87" y="138"/>
                    <a:pt x="75" y="69"/>
                  </a:cubicBezTo>
                  <a:cubicBezTo>
                    <a:pt x="74" y="58"/>
                    <a:pt x="70" y="47"/>
                    <a:pt x="62" y="41"/>
                  </a:cubicBezTo>
                  <a:cubicBezTo>
                    <a:pt x="54" y="35"/>
                    <a:pt x="44" y="34"/>
                    <a:pt x="34" y="34"/>
                  </a:cubicBezTo>
                  <a:cubicBezTo>
                    <a:pt x="24" y="33"/>
                    <a:pt x="22" y="36"/>
                    <a:pt x="13" y="36"/>
                  </a:cubicBezTo>
                  <a:cubicBezTo>
                    <a:pt x="0" y="36"/>
                    <a:pt x="2" y="4"/>
                    <a:pt x="11" y="1"/>
                  </a:cubicBezTo>
                  <a:cubicBezTo>
                    <a:pt x="213" y="0"/>
                    <a:pt x="213" y="0"/>
                    <a:pt x="213" y="0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Freeform 262">
              <a:extLst>
                <a:ext uri="{FF2B5EF4-FFF2-40B4-BE49-F238E27FC236}">
                  <a16:creationId xmlns:a16="http://schemas.microsoft.com/office/drawing/2014/main" id="{2EBCDDA0-4937-CA32-E359-58E18FC21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1" y="2194"/>
              <a:ext cx="131" cy="196"/>
            </a:xfrm>
            <a:custGeom>
              <a:avLst/>
              <a:gdLst>
                <a:gd name="T0" fmla="*/ 80 w 80"/>
                <a:gd name="T1" fmla="*/ 0 h 119"/>
                <a:gd name="T2" fmla="*/ 79 w 80"/>
                <a:gd name="T3" fmla="*/ 5 h 119"/>
                <a:gd name="T4" fmla="*/ 73 w 80"/>
                <a:gd name="T5" fmla="*/ 20 h 119"/>
                <a:gd name="T6" fmla="*/ 49 w 80"/>
                <a:gd name="T7" fmla="*/ 65 h 119"/>
                <a:gd name="T8" fmla="*/ 16 w 80"/>
                <a:gd name="T9" fmla="*/ 105 h 119"/>
                <a:gd name="T10" fmla="*/ 5 w 80"/>
                <a:gd name="T11" fmla="*/ 115 h 119"/>
                <a:gd name="T12" fmla="*/ 0 w 80"/>
                <a:gd name="T13" fmla="*/ 119 h 119"/>
                <a:gd name="T14" fmla="*/ 4 w 80"/>
                <a:gd name="T15" fmla="*/ 115 h 119"/>
                <a:gd name="T16" fmla="*/ 15 w 80"/>
                <a:gd name="T17" fmla="*/ 104 h 119"/>
                <a:gd name="T18" fmla="*/ 47 w 80"/>
                <a:gd name="T19" fmla="*/ 64 h 119"/>
                <a:gd name="T20" fmla="*/ 72 w 80"/>
                <a:gd name="T21" fmla="*/ 19 h 119"/>
                <a:gd name="T22" fmla="*/ 78 w 80"/>
                <a:gd name="T23" fmla="*/ 5 h 119"/>
                <a:gd name="T24" fmla="*/ 80 w 80"/>
                <a:gd name="T2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119">
                  <a:moveTo>
                    <a:pt x="80" y="0"/>
                  </a:moveTo>
                  <a:cubicBezTo>
                    <a:pt x="80" y="0"/>
                    <a:pt x="80" y="2"/>
                    <a:pt x="79" y="5"/>
                  </a:cubicBezTo>
                  <a:cubicBezTo>
                    <a:pt x="77" y="9"/>
                    <a:pt x="76" y="14"/>
                    <a:pt x="73" y="20"/>
                  </a:cubicBezTo>
                  <a:cubicBezTo>
                    <a:pt x="68" y="32"/>
                    <a:pt x="60" y="48"/>
                    <a:pt x="49" y="65"/>
                  </a:cubicBezTo>
                  <a:cubicBezTo>
                    <a:pt x="38" y="82"/>
                    <a:pt x="26" y="95"/>
                    <a:pt x="16" y="105"/>
                  </a:cubicBezTo>
                  <a:cubicBezTo>
                    <a:pt x="12" y="109"/>
                    <a:pt x="8" y="113"/>
                    <a:pt x="5" y="115"/>
                  </a:cubicBezTo>
                  <a:cubicBezTo>
                    <a:pt x="2" y="118"/>
                    <a:pt x="0" y="119"/>
                    <a:pt x="0" y="119"/>
                  </a:cubicBezTo>
                  <a:cubicBezTo>
                    <a:pt x="0" y="119"/>
                    <a:pt x="2" y="117"/>
                    <a:pt x="4" y="115"/>
                  </a:cubicBezTo>
                  <a:cubicBezTo>
                    <a:pt x="7" y="112"/>
                    <a:pt x="11" y="108"/>
                    <a:pt x="15" y="104"/>
                  </a:cubicBezTo>
                  <a:cubicBezTo>
                    <a:pt x="24" y="94"/>
                    <a:pt x="36" y="80"/>
                    <a:pt x="47" y="64"/>
                  </a:cubicBezTo>
                  <a:cubicBezTo>
                    <a:pt x="58" y="47"/>
                    <a:pt x="66" y="31"/>
                    <a:pt x="72" y="19"/>
                  </a:cubicBezTo>
                  <a:cubicBezTo>
                    <a:pt x="74" y="13"/>
                    <a:pt x="76" y="8"/>
                    <a:pt x="78" y="5"/>
                  </a:cubicBezTo>
                  <a:cubicBezTo>
                    <a:pt x="79" y="2"/>
                    <a:pt x="80" y="0"/>
                    <a:pt x="8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Freeform 263">
              <a:extLst>
                <a:ext uri="{FF2B5EF4-FFF2-40B4-BE49-F238E27FC236}">
                  <a16:creationId xmlns:a16="http://schemas.microsoft.com/office/drawing/2014/main" id="{4DBAF023-E81F-A953-2F23-3202BD51C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" y="2282"/>
              <a:ext cx="128" cy="107"/>
            </a:xfrm>
            <a:custGeom>
              <a:avLst/>
              <a:gdLst>
                <a:gd name="T0" fmla="*/ 78 w 78"/>
                <a:gd name="T1" fmla="*/ 0 h 65"/>
                <a:gd name="T2" fmla="*/ 75 w 78"/>
                <a:gd name="T3" fmla="*/ 3 h 65"/>
                <a:gd name="T4" fmla="*/ 69 w 78"/>
                <a:gd name="T5" fmla="*/ 12 h 65"/>
                <a:gd name="T6" fmla="*/ 43 w 78"/>
                <a:gd name="T7" fmla="*/ 38 h 65"/>
                <a:gd name="T8" fmla="*/ 13 w 78"/>
                <a:gd name="T9" fmla="*/ 58 h 65"/>
                <a:gd name="T10" fmla="*/ 4 w 78"/>
                <a:gd name="T11" fmla="*/ 63 h 65"/>
                <a:gd name="T12" fmla="*/ 0 w 78"/>
                <a:gd name="T13" fmla="*/ 65 h 65"/>
                <a:gd name="T14" fmla="*/ 13 w 78"/>
                <a:gd name="T15" fmla="*/ 57 h 65"/>
                <a:gd name="T16" fmla="*/ 42 w 78"/>
                <a:gd name="T17" fmla="*/ 36 h 65"/>
                <a:gd name="T18" fmla="*/ 68 w 78"/>
                <a:gd name="T19" fmla="*/ 11 h 65"/>
                <a:gd name="T20" fmla="*/ 78 w 78"/>
                <a:gd name="T2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65">
                  <a:moveTo>
                    <a:pt x="78" y="0"/>
                  </a:moveTo>
                  <a:cubicBezTo>
                    <a:pt x="78" y="0"/>
                    <a:pt x="77" y="1"/>
                    <a:pt x="75" y="3"/>
                  </a:cubicBezTo>
                  <a:cubicBezTo>
                    <a:pt x="74" y="5"/>
                    <a:pt x="72" y="8"/>
                    <a:pt x="69" y="12"/>
                  </a:cubicBezTo>
                  <a:cubicBezTo>
                    <a:pt x="63" y="19"/>
                    <a:pt x="54" y="29"/>
                    <a:pt x="43" y="38"/>
                  </a:cubicBezTo>
                  <a:cubicBezTo>
                    <a:pt x="32" y="47"/>
                    <a:pt x="21" y="54"/>
                    <a:pt x="13" y="58"/>
                  </a:cubicBezTo>
                  <a:cubicBezTo>
                    <a:pt x="9" y="61"/>
                    <a:pt x="6" y="62"/>
                    <a:pt x="4" y="63"/>
                  </a:cubicBezTo>
                  <a:cubicBezTo>
                    <a:pt x="1" y="64"/>
                    <a:pt x="0" y="65"/>
                    <a:pt x="0" y="65"/>
                  </a:cubicBezTo>
                  <a:cubicBezTo>
                    <a:pt x="0" y="65"/>
                    <a:pt x="5" y="62"/>
                    <a:pt x="13" y="57"/>
                  </a:cubicBezTo>
                  <a:cubicBezTo>
                    <a:pt x="20" y="52"/>
                    <a:pt x="31" y="45"/>
                    <a:pt x="42" y="36"/>
                  </a:cubicBezTo>
                  <a:cubicBezTo>
                    <a:pt x="53" y="27"/>
                    <a:pt x="61" y="18"/>
                    <a:pt x="68" y="11"/>
                  </a:cubicBezTo>
                  <a:cubicBezTo>
                    <a:pt x="74" y="4"/>
                    <a:pt x="77" y="0"/>
                    <a:pt x="78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Oval 264">
              <a:extLst>
                <a:ext uri="{FF2B5EF4-FFF2-40B4-BE49-F238E27FC236}">
                  <a16:creationId xmlns:a16="http://schemas.microsoft.com/office/drawing/2014/main" id="{43BCC01C-8E68-9B0F-DEC3-072735AE1E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7" y="2387"/>
              <a:ext cx="361" cy="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Freeform 265">
              <a:extLst>
                <a:ext uri="{FF2B5EF4-FFF2-40B4-BE49-F238E27FC236}">
                  <a16:creationId xmlns:a16="http://schemas.microsoft.com/office/drawing/2014/main" id="{E737931D-4652-FC42-726A-463B3A270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012"/>
              <a:ext cx="171" cy="56"/>
            </a:xfrm>
            <a:custGeom>
              <a:avLst/>
              <a:gdLst>
                <a:gd name="T0" fmla="*/ 104 w 104"/>
                <a:gd name="T1" fmla="*/ 34 h 34"/>
                <a:gd name="T2" fmla="*/ 91 w 104"/>
                <a:gd name="T3" fmla="*/ 24 h 34"/>
                <a:gd name="T4" fmla="*/ 75 w 104"/>
                <a:gd name="T5" fmla="*/ 16 h 34"/>
                <a:gd name="T6" fmla="*/ 55 w 104"/>
                <a:gd name="T7" fmla="*/ 8 h 34"/>
                <a:gd name="T8" fmla="*/ 34 w 104"/>
                <a:gd name="T9" fmla="*/ 3 h 34"/>
                <a:gd name="T10" fmla="*/ 16 w 104"/>
                <a:gd name="T11" fmla="*/ 2 h 34"/>
                <a:gd name="T12" fmla="*/ 0 w 104"/>
                <a:gd name="T13" fmla="*/ 3 h 34"/>
                <a:gd name="T14" fmla="*/ 4 w 104"/>
                <a:gd name="T15" fmla="*/ 2 h 34"/>
                <a:gd name="T16" fmla="*/ 16 w 104"/>
                <a:gd name="T17" fmla="*/ 1 h 34"/>
                <a:gd name="T18" fmla="*/ 34 w 104"/>
                <a:gd name="T19" fmla="*/ 1 h 34"/>
                <a:gd name="T20" fmla="*/ 56 w 104"/>
                <a:gd name="T21" fmla="*/ 6 h 34"/>
                <a:gd name="T22" fmla="*/ 76 w 104"/>
                <a:gd name="T23" fmla="*/ 14 h 34"/>
                <a:gd name="T24" fmla="*/ 91 w 104"/>
                <a:gd name="T25" fmla="*/ 23 h 34"/>
                <a:gd name="T26" fmla="*/ 101 w 104"/>
                <a:gd name="T27" fmla="*/ 31 h 34"/>
                <a:gd name="T28" fmla="*/ 104 w 104"/>
                <a:gd name="T2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34">
                  <a:moveTo>
                    <a:pt x="104" y="34"/>
                  </a:moveTo>
                  <a:cubicBezTo>
                    <a:pt x="104" y="34"/>
                    <a:pt x="99" y="30"/>
                    <a:pt x="91" y="24"/>
                  </a:cubicBezTo>
                  <a:cubicBezTo>
                    <a:pt x="86" y="21"/>
                    <a:pt x="81" y="18"/>
                    <a:pt x="75" y="16"/>
                  </a:cubicBezTo>
                  <a:cubicBezTo>
                    <a:pt x="69" y="13"/>
                    <a:pt x="62" y="10"/>
                    <a:pt x="55" y="8"/>
                  </a:cubicBezTo>
                  <a:cubicBezTo>
                    <a:pt x="48" y="6"/>
                    <a:pt x="40" y="4"/>
                    <a:pt x="34" y="3"/>
                  </a:cubicBezTo>
                  <a:cubicBezTo>
                    <a:pt x="27" y="2"/>
                    <a:pt x="21" y="2"/>
                    <a:pt x="16" y="2"/>
                  </a:cubicBezTo>
                  <a:cubicBezTo>
                    <a:pt x="6" y="2"/>
                    <a:pt x="0" y="3"/>
                    <a:pt x="0" y="3"/>
                  </a:cubicBezTo>
                  <a:cubicBezTo>
                    <a:pt x="0" y="3"/>
                    <a:pt x="1" y="2"/>
                    <a:pt x="4" y="2"/>
                  </a:cubicBezTo>
                  <a:cubicBezTo>
                    <a:pt x="7" y="1"/>
                    <a:pt x="11" y="1"/>
                    <a:pt x="16" y="1"/>
                  </a:cubicBezTo>
                  <a:cubicBezTo>
                    <a:pt x="21" y="0"/>
                    <a:pt x="27" y="1"/>
                    <a:pt x="34" y="1"/>
                  </a:cubicBezTo>
                  <a:cubicBezTo>
                    <a:pt x="41" y="2"/>
                    <a:pt x="48" y="3"/>
                    <a:pt x="56" y="6"/>
                  </a:cubicBezTo>
                  <a:cubicBezTo>
                    <a:pt x="63" y="8"/>
                    <a:pt x="70" y="11"/>
                    <a:pt x="76" y="14"/>
                  </a:cubicBezTo>
                  <a:cubicBezTo>
                    <a:pt x="82" y="17"/>
                    <a:pt x="87" y="20"/>
                    <a:pt x="91" y="23"/>
                  </a:cubicBezTo>
                  <a:cubicBezTo>
                    <a:pt x="96" y="26"/>
                    <a:pt x="99" y="29"/>
                    <a:pt x="101" y="31"/>
                  </a:cubicBezTo>
                  <a:cubicBezTo>
                    <a:pt x="103" y="33"/>
                    <a:pt x="104" y="34"/>
                    <a:pt x="104" y="3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Freeform 266">
              <a:extLst>
                <a:ext uri="{FF2B5EF4-FFF2-40B4-BE49-F238E27FC236}">
                  <a16:creationId xmlns:a16="http://schemas.microsoft.com/office/drawing/2014/main" id="{4DEF857B-B8D7-F3B5-0EEB-F5141BAD5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7" y="2018"/>
              <a:ext cx="104" cy="28"/>
            </a:xfrm>
            <a:custGeom>
              <a:avLst/>
              <a:gdLst>
                <a:gd name="T0" fmla="*/ 63 w 63"/>
                <a:gd name="T1" fmla="*/ 17 h 17"/>
                <a:gd name="T2" fmla="*/ 53 w 63"/>
                <a:gd name="T3" fmla="*/ 16 h 17"/>
                <a:gd name="T4" fmla="*/ 31 w 63"/>
                <a:gd name="T5" fmla="*/ 11 h 17"/>
                <a:gd name="T6" fmla="*/ 9 w 63"/>
                <a:gd name="T7" fmla="*/ 4 h 17"/>
                <a:gd name="T8" fmla="*/ 0 w 63"/>
                <a:gd name="T9" fmla="*/ 0 h 17"/>
                <a:gd name="T10" fmla="*/ 9 w 63"/>
                <a:gd name="T11" fmla="*/ 2 h 17"/>
                <a:gd name="T12" fmla="*/ 31 w 63"/>
                <a:gd name="T13" fmla="*/ 9 h 17"/>
                <a:gd name="T14" fmla="*/ 53 w 63"/>
                <a:gd name="T15" fmla="*/ 14 h 17"/>
                <a:gd name="T16" fmla="*/ 63 w 63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17">
                  <a:moveTo>
                    <a:pt x="63" y="17"/>
                  </a:moveTo>
                  <a:cubicBezTo>
                    <a:pt x="63" y="17"/>
                    <a:pt x="59" y="17"/>
                    <a:pt x="53" y="16"/>
                  </a:cubicBezTo>
                  <a:cubicBezTo>
                    <a:pt x="47" y="15"/>
                    <a:pt x="39" y="13"/>
                    <a:pt x="31" y="11"/>
                  </a:cubicBezTo>
                  <a:cubicBezTo>
                    <a:pt x="22" y="8"/>
                    <a:pt x="15" y="6"/>
                    <a:pt x="9" y="4"/>
                  </a:cubicBezTo>
                  <a:cubicBezTo>
                    <a:pt x="4" y="2"/>
                    <a:pt x="0" y="0"/>
                    <a:pt x="0" y="0"/>
                  </a:cubicBezTo>
                  <a:cubicBezTo>
                    <a:pt x="0" y="0"/>
                    <a:pt x="4" y="0"/>
                    <a:pt x="9" y="2"/>
                  </a:cubicBezTo>
                  <a:cubicBezTo>
                    <a:pt x="15" y="4"/>
                    <a:pt x="23" y="6"/>
                    <a:pt x="31" y="9"/>
                  </a:cubicBezTo>
                  <a:cubicBezTo>
                    <a:pt x="40" y="11"/>
                    <a:pt x="48" y="13"/>
                    <a:pt x="53" y="14"/>
                  </a:cubicBezTo>
                  <a:cubicBezTo>
                    <a:pt x="59" y="16"/>
                    <a:pt x="63" y="17"/>
                    <a:pt x="63" y="1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Freeform 267">
              <a:extLst>
                <a:ext uri="{FF2B5EF4-FFF2-40B4-BE49-F238E27FC236}">
                  <a16:creationId xmlns:a16="http://schemas.microsoft.com/office/drawing/2014/main" id="{93E0B619-30C4-8351-10B9-39D517AA1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" y="1959"/>
              <a:ext cx="25" cy="61"/>
            </a:xfrm>
            <a:custGeom>
              <a:avLst/>
              <a:gdLst>
                <a:gd name="T0" fmla="*/ 15 w 15"/>
                <a:gd name="T1" fmla="*/ 37 h 37"/>
                <a:gd name="T2" fmla="*/ 9 w 15"/>
                <a:gd name="T3" fmla="*/ 34 h 37"/>
                <a:gd name="T4" fmla="*/ 1 w 15"/>
                <a:gd name="T5" fmla="*/ 20 h 37"/>
                <a:gd name="T6" fmla="*/ 6 w 15"/>
                <a:gd name="T7" fmla="*/ 5 h 37"/>
                <a:gd name="T8" fmla="*/ 11 w 15"/>
                <a:gd name="T9" fmla="*/ 1 h 37"/>
                <a:gd name="T10" fmla="*/ 7 w 15"/>
                <a:gd name="T11" fmla="*/ 5 h 37"/>
                <a:gd name="T12" fmla="*/ 3 w 15"/>
                <a:gd name="T13" fmla="*/ 20 h 37"/>
                <a:gd name="T14" fmla="*/ 10 w 15"/>
                <a:gd name="T15" fmla="*/ 33 h 37"/>
                <a:gd name="T16" fmla="*/ 15 w 15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37">
                  <a:moveTo>
                    <a:pt x="15" y="37"/>
                  </a:moveTo>
                  <a:cubicBezTo>
                    <a:pt x="15" y="37"/>
                    <a:pt x="12" y="37"/>
                    <a:pt x="9" y="34"/>
                  </a:cubicBezTo>
                  <a:cubicBezTo>
                    <a:pt x="5" y="32"/>
                    <a:pt x="1" y="27"/>
                    <a:pt x="1" y="20"/>
                  </a:cubicBezTo>
                  <a:cubicBezTo>
                    <a:pt x="0" y="13"/>
                    <a:pt x="3" y="8"/>
                    <a:pt x="6" y="5"/>
                  </a:cubicBezTo>
                  <a:cubicBezTo>
                    <a:pt x="9" y="1"/>
                    <a:pt x="11" y="0"/>
                    <a:pt x="11" y="1"/>
                  </a:cubicBezTo>
                  <a:cubicBezTo>
                    <a:pt x="11" y="1"/>
                    <a:pt x="9" y="2"/>
                    <a:pt x="7" y="5"/>
                  </a:cubicBezTo>
                  <a:cubicBezTo>
                    <a:pt x="5" y="9"/>
                    <a:pt x="2" y="14"/>
                    <a:pt x="3" y="20"/>
                  </a:cubicBezTo>
                  <a:cubicBezTo>
                    <a:pt x="3" y="26"/>
                    <a:pt x="7" y="30"/>
                    <a:pt x="10" y="33"/>
                  </a:cubicBezTo>
                  <a:cubicBezTo>
                    <a:pt x="13" y="36"/>
                    <a:pt x="15" y="36"/>
                    <a:pt x="15" y="3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Freeform 268">
              <a:extLst>
                <a:ext uri="{FF2B5EF4-FFF2-40B4-BE49-F238E27FC236}">
                  <a16:creationId xmlns:a16="http://schemas.microsoft.com/office/drawing/2014/main" id="{3387C39E-A929-44D9-1D7A-939131869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8" y="1994"/>
              <a:ext cx="23" cy="13"/>
            </a:xfrm>
            <a:custGeom>
              <a:avLst/>
              <a:gdLst>
                <a:gd name="T0" fmla="*/ 14 w 14"/>
                <a:gd name="T1" fmla="*/ 2 h 8"/>
                <a:gd name="T2" fmla="*/ 7 w 14"/>
                <a:gd name="T3" fmla="*/ 4 h 8"/>
                <a:gd name="T4" fmla="*/ 0 w 14"/>
                <a:gd name="T5" fmla="*/ 8 h 8"/>
                <a:gd name="T6" fmla="*/ 6 w 14"/>
                <a:gd name="T7" fmla="*/ 2 h 8"/>
                <a:gd name="T8" fmla="*/ 14 w 14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8">
                  <a:moveTo>
                    <a:pt x="14" y="2"/>
                  </a:moveTo>
                  <a:cubicBezTo>
                    <a:pt x="13" y="3"/>
                    <a:pt x="10" y="3"/>
                    <a:pt x="7" y="4"/>
                  </a:cubicBezTo>
                  <a:cubicBezTo>
                    <a:pt x="3" y="6"/>
                    <a:pt x="1" y="8"/>
                    <a:pt x="0" y="8"/>
                  </a:cubicBezTo>
                  <a:cubicBezTo>
                    <a:pt x="0" y="8"/>
                    <a:pt x="2" y="4"/>
                    <a:pt x="6" y="2"/>
                  </a:cubicBezTo>
                  <a:cubicBezTo>
                    <a:pt x="10" y="0"/>
                    <a:pt x="14" y="2"/>
                    <a:pt x="14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Freeform 269">
              <a:extLst>
                <a:ext uri="{FF2B5EF4-FFF2-40B4-BE49-F238E27FC236}">
                  <a16:creationId xmlns:a16="http://schemas.microsoft.com/office/drawing/2014/main" id="{B5A22332-38FC-1303-D2A4-EB52E719B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" y="1967"/>
              <a:ext cx="48" cy="61"/>
            </a:xfrm>
            <a:custGeom>
              <a:avLst/>
              <a:gdLst>
                <a:gd name="T0" fmla="*/ 29 w 29"/>
                <a:gd name="T1" fmla="*/ 33 h 37"/>
                <a:gd name="T2" fmla="*/ 28 w 29"/>
                <a:gd name="T3" fmla="*/ 35 h 37"/>
                <a:gd name="T4" fmla="*/ 20 w 29"/>
                <a:gd name="T5" fmla="*/ 37 h 37"/>
                <a:gd name="T6" fmla="*/ 10 w 29"/>
                <a:gd name="T7" fmla="*/ 34 h 37"/>
                <a:gd name="T8" fmla="*/ 2 w 29"/>
                <a:gd name="T9" fmla="*/ 23 h 37"/>
                <a:gd name="T10" fmla="*/ 2 w 29"/>
                <a:gd name="T11" fmla="*/ 10 h 37"/>
                <a:gd name="T12" fmla="*/ 10 w 29"/>
                <a:gd name="T13" fmla="*/ 2 h 37"/>
                <a:gd name="T14" fmla="*/ 17 w 29"/>
                <a:gd name="T15" fmla="*/ 1 h 37"/>
                <a:gd name="T16" fmla="*/ 20 w 29"/>
                <a:gd name="T17" fmla="*/ 1 h 37"/>
                <a:gd name="T18" fmla="*/ 11 w 29"/>
                <a:gd name="T19" fmla="*/ 3 h 37"/>
                <a:gd name="T20" fmla="*/ 4 w 29"/>
                <a:gd name="T21" fmla="*/ 11 h 37"/>
                <a:gd name="T22" fmla="*/ 4 w 29"/>
                <a:gd name="T23" fmla="*/ 23 h 37"/>
                <a:gd name="T24" fmla="*/ 11 w 29"/>
                <a:gd name="T25" fmla="*/ 32 h 37"/>
                <a:gd name="T26" fmla="*/ 21 w 29"/>
                <a:gd name="T27" fmla="*/ 36 h 37"/>
                <a:gd name="T28" fmla="*/ 27 w 29"/>
                <a:gd name="T29" fmla="*/ 34 h 37"/>
                <a:gd name="T30" fmla="*/ 29 w 29"/>
                <a:gd name="T31" fmla="*/ 3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37">
                  <a:moveTo>
                    <a:pt x="29" y="33"/>
                  </a:moveTo>
                  <a:cubicBezTo>
                    <a:pt x="29" y="33"/>
                    <a:pt x="29" y="34"/>
                    <a:pt x="28" y="35"/>
                  </a:cubicBezTo>
                  <a:cubicBezTo>
                    <a:pt x="26" y="36"/>
                    <a:pt x="24" y="37"/>
                    <a:pt x="20" y="37"/>
                  </a:cubicBezTo>
                  <a:cubicBezTo>
                    <a:pt x="17" y="37"/>
                    <a:pt x="14" y="36"/>
                    <a:pt x="10" y="34"/>
                  </a:cubicBezTo>
                  <a:cubicBezTo>
                    <a:pt x="7" y="31"/>
                    <a:pt x="3" y="28"/>
                    <a:pt x="2" y="23"/>
                  </a:cubicBezTo>
                  <a:cubicBezTo>
                    <a:pt x="0" y="19"/>
                    <a:pt x="1" y="14"/>
                    <a:pt x="2" y="10"/>
                  </a:cubicBezTo>
                  <a:cubicBezTo>
                    <a:pt x="4" y="6"/>
                    <a:pt x="7" y="3"/>
                    <a:pt x="10" y="2"/>
                  </a:cubicBezTo>
                  <a:cubicBezTo>
                    <a:pt x="13" y="1"/>
                    <a:pt x="16" y="0"/>
                    <a:pt x="17" y="1"/>
                  </a:cubicBezTo>
                  <a:cubicBezTo>
                    <a:pt x="19" y="1"/>
                    <a:pt x="20" y="1"/>
                    <a:pt x="20" y="1"/>
                  </a:cubicBezTo>
                  <a:cubicBezTo>
                    <a:pt x="20" y="2"/>
                    <a:pt x="16" y="0"/>
                    <a:pt x="11" y="3"/>
                  </a:cubicBezTo>
                  <a:cubicBezTo>
                    <a:pt x="8" y="5"/>
                    <a:pt x="6" y="7"/>
                    <a:pt x="4" y="11"/>
                  </a:cubicBezTo>
                  <a:cubicBezTo>
                    <a:pt x="3" y="14"/>
                    <a:pt x="2" y="18"/>
                    <a:pt x="4" y="23"/>
                  </a:cubicBezTo>
                  <a:cubicBezTo>
                    <a:pt x="5" y="27"/>
                    <a:pt x="8" y="30"/>
                    <a:pt x="11" y="32"/>
                  </a:cubicBezTo>
                  <a:cubicBezTo>
                    <a:pt x="14" y="34"/>
                    <a:pt x="18" y="35"/>
                    <a:pt x="21" y="36"/>
                  </a:cubicBezTo>
                  <a:cubicBezTo>
                    <a:pt x="23" y="36"/>
                    <a:pt x="26" y="35"/>
                    <a:pt x="27" y="34"/>
                  </a:cubicBezTo>
                  <a:cubicBezTo>
                    <a:pt x="29" y="34"/>
                    <a:pt x="29" y="33"/>
                    <a:pt x="29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Freeform 270">
              <a:extLst>
                <a:ext uri="{FF2B5EF4-FFF2-40B4-BE49-F238E27FC236}">
                  <a16:creationId xmlns:a16="http://schemas.microsoft.com/office/drawing/2014/main" id="{CAD19499-0FBC-C1E9-A74E-AD282830D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7" y="2015"/>
              <a:ext cx="26" cy="3"/>
            </a:xfrm>
            <a:custGeom>
              <a:avLst/>
              <a:gdLst>
                <a:gd name="T0" fmla="*/ 1 w 16"/>
                <a:gd name="T1" fmla="*/ 0 h 2"/>
                <a:gd name="T2" fmla="*/ 0 w 16"/>
                <a:gd name="T3" fmla="*/ 0 h 2"/>
                <a:gd name="T4" fmla="*/ 16 w 16"/>
                <a:gd name="T5" fmla="*/ 2 h 2"/>
                <a:gd name="T6" fmla="*/ 1 w 1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5" y="0"/>
                    <a:pt x="11" y="1"/>
                    <a:pt x="16" y="2"/>
                  </a:cubicBezTo>
                  <a:cubicBezTo>
                    <a:pt x="11" y="1"/>
                    <a:pt x="6" y="0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Freeform 271">
              <a:extLst>
                <a:ext uri="{FF2B5EF4-FFF2-40B4-BE49-F238E27FC236}">
                  <a16:creationId xmlns:a16="http://schemas.microsoft.com/office/drawing/2014/main" id="{267997B0-4915-8F54-942D-A1B3B20D2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8" y="2015"/>
              <a:ext cx="172" cy="92"/>
            </a:xfrm>
            <a:custGeom>
              <a:avLst/>
              <a:gdLst>
                <a:gd name="T0" fmla="*/ 1 w 104"/>
                <a:gd name="T1" fmla="*/ 0 h 56"/>
                <a:gd name="T2" fmla="*/ 0 w 104"/>
                <a:gd name="T3" fmla="*/ 0 h 56"/>
                <a:gd name="T4" fmla="*/ 0 w 104"/>
                <a:gd name="T5" fmla="*/ 0 h 56"/>
                <a:gd name="T6" fmla="*/ 0 w 104"/>
                <a:gd name="T7" fmla="*/ 0 h 56"/>
                <a:gd name="T8" fmla="*/ 15 w 104"/>
                <a:gd name="T9" fmla="*/ 2 h 56"/>
                <a:gd name="T10" fmla="*/ 61 w 104"/>
                <a:gd name="T11" fmla="*/ 22 h 56"/>
                <a:gd name="T12" fmla="*/ 91 w 104"/>
                <a:gd name="T13" fmla="*/ 54 h 56"/>
                <a:gd name="T14" fmla="*/ 96 w 104"/>
                <a:gd name="T15" fmla="*/ 56 h 56"/>
                <a:gd name="T16" fmla="*/ 103 w 104"/>
                <a:gd name="T17" fmla="*/ 48 h 56"/>
                <a:gd name="T18" fmla="*/ 103 w 104"/>
                <a:gd name="T19" fmla="*/ 48 h 56"/>
                <a:gd name="T20" fmla="*/ 93 w 104"/>
                <a:gd name="T21" fmla="*/ 34 h 56"/>
                <a:gd name="T22" fmla="*/ 74 w 104"/>
                <a:gd name="T23" fmla="*/ 20 h 56"/>
                <a:gd name="T24" fmla="*/ 75 w 104"/>
                <a:gd name="T25" fmla="*/ 21 h 56"/>
                <a:gd name="T26" fmla="*/ 85 w 104"/>
                <a:gd name="T27" fmla="*/ 29 h 56"/>
                <a:gd name="T28" fmla="*/ 88 w 104"/>
                <a:gd name="T29" fmla="*/ 32 h 56"/>
                <a:gd name="T30" fmla="*/ 88 w 104"/>
                <a:gd name="T31" fmla="*/ 32 h 56"/>
                <a:gd name="T32" fmla="*/ 75 w 104"/>
                <a:gd name="T33" fmla="*/ 22 h 56"/>
                <a:gd name="T34" fmla="*/ 59 w 104"/>
                <a:gd name="T35" fmla="*/ 14 h 56"/>
                <a:gd name="T36" fmla="*/ 39 w 104"/>
                <a:gd name="T37" fmla="*/ 6 h 56"/>
                <a:gd name="T38" fmla="*/ 18 w 104"/>
                <a:gd name="T39" fmla="*/ 1 h 56"/>
                <a:gd name="T40" fmla="*/ 1 w 104"/>
                <a:gd name="T4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56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1"/>
                    <a:pt x="15" y="2"/>
                  </a:cubicBezTo>
                  <a:cubicBezTo>
                    <a:pt x="32" y="6"/>
                    <a:pt x="50" y="14"/>
                    <a:pt x="61" y="22"/>
                  </a:cubicBezTo>
                  <a:cubicBezTo>
                    <a:pt x="72" y="31"/>
                    <a:pt x="82" y="42"/>
                    <a:pt x="91" y="54"/>
                  </a:cubicBezTo>
                  <a:cubicBezTo>
                    <a:pt x="93" y="55"/>
                    <a:pt x="94" y="56"/>
                    <a:pt x="96" y="56"/>
                  </a:cubicBezTo>
                  <a:cubicBezTo>
                    <a:pt x="100" y="56"/>
                    <a:pt x="104" y="52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1" y="42"/>
                    <a:pt x="97" y="38"/>
                    <a:pt x="93" y="34"/>
                  </a:cubicBezTo>
                  <a:cubicBezTo>
                    <a:pt x="87" y="29"/>
                    <a:pt x="81" y="25"/>
                    <a:pt x="74" y="20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80" y="24"/>
                    <a:pt x="83" y="27"/>
                    <a:pt x="85" y="29"/>
                  </a:cubicBezTo>
                  <a:cubicBezTo>
                    <a:pt x="87" y="31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7" y="32"/>
                    <a:pt x="83" y="28"/>
                    <a:pt x="75" y="22"/>
                  </a:cubicBezTo>
                  <a:cubicBezTo>
                    <a:pt x="70" y="19"/>
                    <a:pt x="65" y="16"/>
                    <a:pt x="59" y="14"/>
                  </a:cubicBezTo>
                  <a:cubicBezTo>
                    <a:pt x="53" y="11"/>
                    <a:pt x="46" y="8"/>
                    <a:pt x="39" y="6"/>
                  </a:cubicBezTo>
                  <a:cubicBezTo>
                    <a:pt x="32" y="4"/>
                    <a:pt x="24" y="2"/>
                    <a:pt x="18" y="1"/>
                  </a:cubicBezTo>
                  <a:cubicBezTo>
                    <a:pt x="12" y="0"/>
                    <a:pt x="6" y="0"/>
                    <a:pt x="1" y="0"/>
                  </a:cubicBezTo>
                </a:path>
              </a:pathLst>
            </a:custGeom>
            <a:solidFill>
              <a:srgbClr val="303F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Freeform 272">
              <a:extLst>
                <a:ext uri="{FF2B5EF4-FFF2-40B4-BE49-F238E27FC236}">
                  <a16:creationId xmlns:a16="http://schemas.microsoft.com/office/drawing/2014/main" id="{AD53DFF3-70E9-47D7-D52D-CB3798649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8" y="2015"/>
              <a:ext cx="145" cy="53"/>
            </a:xfrm>
            <a:custGeom>
              <a:avLst/>
              <a:gdLst>
                <a:gd name="T0" fmla="*/ 9 w 88"/>
                <a:gd name="T1" fmla="*/ 0 h 32"/>
                <a:gd name="T2" fmla="*/ 0 w 88"/>
                <a:gd name="T3" fmla="*/ 0 h 32"/>
                <a:gd name="T4" fmla="*/ 0 w 88"/>
                <a:gd name="T5" fmla="*/ 0 h 32"/>
                <a:gd name="T6" fmla="*/ 1 w 88"/>
                <a:gd name="T7" fmla="*/ 0 h 32"/>
                <a:gd name="T8" fmla="*/ 18 w 88"/>
                <a:gd name="T9" fmla="*/ 1 h 32"/>
                <a:gd name="T10" fmla="*/ 39 w 88"/>
                <a:gd name="T11" fmla="*/ 6 h 32"/>
                <a:gd name="T12" fmla="*/ 59 w 88"/>
                <a:gd name="T13" fmla="*/ 14 h 32"/>
                <a:gd name="T14" fmla="*/ 75 w 88"/>
                <a:gd name="T15" fmla="*/ 22 h 32"/>
                <a:gd name="T16" fmla="*/ 88 w 88"/>
                <a:gd name="T17" fmla="*/ 32 h 32"/>
                <a:gd name="T18" fmla="*/ 88 w 88"/>
                <a:gd name="T19" fmla="*/ 32 h 32"/>
                <a:gd name="T20" fmla="*/ 85 w 88"/>
                <a:gd name="T21" fmla="*/ 29 h 32"/>
                <a:gd name="T22" fmla="*/ 75 w 88"/>
                <a:gd name="T23" fmla="*/ 21 h 32"/>
                <a:gd name="T24" fmla="*/ 74 w 88"/>
                <a:gd name="T25" fmla="*/ 20 h 32"/>
                <a:gd name="T26" fmla="*/ 9 w 88"/>
                <a:gd name="T2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32">
                  <a:moveTo>
                    <a:pt x="9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12" y="0"/>
                    <a:pt x="18" y="1"/>
                  </a:cubicBezTo>
                  <a:cubicBezTo>
                    <a:pt x="24" y="2"/>
                    <a:pt x="32" y="4"/>
                    <a:pt x="39" y="6"/>
                  </a:cubicBezTo>
                  <a:cubicBezTo>
                    <a:pt x="46" y="8"/>
                    <a:pt x="53" y="11"/>
                    <a:pt x="59" y="14"/>
                  </a:cubicBezTo>
                  <a:cubicBezTo>
                    <a:pt x="65" y="16"/>
                    <a:pt x="70" y="19"/>
                    <a:pt x="75" y="22"/>
                  </a:cubicBezTo>
                  <a:cubicBezTo>
                    <a:pt x="83" y="28"/>
                    <a:pt x="87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7" y="31"/>
                    <a:pt x="85" y="29"/>
                  </a:cubicBezTo>
                  <a:cubicBezTo>
                    <a:pt x="83" y="27"/>
                    <a:pt x="80" y="24"/>
                    <a:pt x="75" y="21"/>
                  </a:cubicBezTo>
                  <a:cubicBezTo>
                    <a:pt x="75" y="21"/>
                    <a:pt x="75" y="21"/>
                    <a:pt x="74" y="20"/>
                  </a:cubicBezTo>
                  <a:cubicBezTo>
                    <a:pt x="55" y="8"/>
                    <a:pt x="31" y="0"/>
                    <a:pt x="9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Freeform 273">
              <a:extLst>
                <a:ext uri="{FF2B5EF4-FFF2-40B4-BE49-F238E27FC236}">
                  <a16:creationId xmlns:a16="http://schemas.microsoft.com/office/drawing/2014/main" id="{1394BD6A-BCA4-23FD-5701-90851FE97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" y="2287"/>
              <a:ext cx="123" cy="100"/>
            </a:xfrm>
            <a:custGeom>
              <a:avLst/>
              <a:gdLst>
                <a:gd name="T0" fmla="*/ 74 w 75"/>
                <a:gd name="T1" fmla="*/ 0 h 61"/>
                <a:gd name="T2" fmla="*/ 73 w 75"/>
                <a:gd name="T3" fmla="*/ 0 h 61"/>
                <a:gd name="T4" fmla="*/ 67 w 75"/>
                <a:gd name="T5" fmla="*/ 9 h 61"/>
                <a:gd name="T6" fmla="*/ 41 w 75"/>
                <a:gd name="T7" fmla="*/ 35 h 61"/>
                <a:gd name="T8" fmla="*/ 11 w 75"/>
                <a:gd name="T9" fmla="*/ 55 h 61"/>
                <a:gd name="T10" fmla="*/ 2 w 75"/>
                <a:gd name="T11" fmla="*/ 60 h 61"/>
                <a:gd name="T12" fmla="*/ 0 w 75"/>
                <a:gd name="T13" fmla="*/ 61 h 61"/>
                <a:gd name="T14" fmla="*/ 49 w 75"/>
                <a:gd name="T15" fmla="*/ 45 h 61"/>
                <a:gd name="T16" fmla="*/ 74 w 75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61">
                  <a:moveTo>
                    <a:pt x="74" y="0"/>
                  </a:moveTo>
                  <a:cubicBezTo>
                    <a:pt x="74" y="0"/>
                    <a:pt x="74" y="0"/>
                    <a:pt x="73" y="0"/>
                  </a:cubicBezTo>
                  <a:cubicBezTo>
                    <a:pt x="72" y="2"/>
                    <a:pt x="70" y="5"/>
                    <a:pt x="67" y="9"/>
                  </a:cubicBezTo>
                  <a:cubicBezTo>
                    <a:pt x="61" y="16"/>
                    <a:pt x="52" y="26"/>
                    <a:pt x="41" y="35"/>
                  </a:cubicBezTo>
                  <a:cubicBezTo>
                    <a:pt x="30" y="44"/>
                    <a:pt x="19" y="51"/>
                    <a:pt x="11" y="55"/>
                  </a:cubicBezTo>
                  <a:cubicBezTo>
                    <a:pt x="7" y="58"/>
                    <a:pt x="4" y="59"/>
                    <a:pt x="2" y="60"/>
                  </a:cubicBezTo>
                  <a:cubicBezTo>
                    <a:pt x="1" y="61"/>
                    <a:pt x="0" y="61"/>
                    <a:pt x="0" y="61"/>
                  </a:cubicBezTo>
                  <a:cubicBezTo>
                    <a:pt x="16" y="58"/>
                    <a:pt x="36" y="54"/>
                    <a:pt x="49" y="45"/>
                  </a:cubicBezTo>
                  <a:cubicBezTo>
                    <a:pt x="63" y="35"/>
                    <a:pt x="75" y="17"/>
                    <a:pt x="74" y="0"/>
                  </a:cubicBezTo>
                </a:path>
              </a:pathLst>
            </a:custGeom>
            <a:solidFill>
              <a:srgbClr val="303F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Freeform 274">
              <a:extLst>
                <a:ext uri="{FF2B5EF4-FFF2-40B4-BE49-F238E27FC236}">
                  <a16:creationId xmlns:a16="http://schemas.microsoft.com/office/drawing/2014/main" id="{E018D451-63E9-D2E2-D720-FD01DBFAA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" y="2287"/>
              <a:ext cx="124" cy="100"/>
            </a:xfrm>
            <a:custGeom>
              <a:avLst/>
              <a:gdLst>
                <a:gd name="T0" fmla="*/ 75 w 75"/>
                <a:gd name="T1" fmla="*/ 0 h 61"/>
                <a:gd name="T2" fmla="*/ 0 w 75"/>
                <a:gd name="T3" fmla="*/ 61 h 61"/>
                <a:gd name="T4" fmla="*/ 0 w 75"/>
                <a:gd name="T5" fmla="*/ 61 h 61"/>
                <a:gd name="T6" fmla="*/ 1 w 75"/>
                <a:gd name="T7" fmla="*/ 61 h 61"/>
                <a:gd name="T8" fmla="*/ 3 w 75"/>
                <a:gd name="T9" fmla="*/ 60 h 61"/>
                <a:gd name="T10" fmla="*/ 12 w 75"/>
                <a:gd name="T11" fmla="*/ 55 h 61"/>
                <a:gd name="T12" fmla="*/ 42 w 75"/>
                <a:gd name="T13" fmla="*/ 35 h 61"/>
                <a:gd name="T14" fmla="*/ 68 w 75"/>
                <a:gd name="T15" fmla="*/ 9 h 61"/>
                <a:gd name="T16" fmla="*/ 74 w 75"/>
                <a:gd name="T17" fmla="*/ 0 h 61"/>
                <a:gd name="T18" fmla="*/ 75 w 75"/>
                <a:gd name="T19" fmla="*/ 0 h 61"/>
                <a:gd name="T20" fmla="*/ 75 w 75"/>
                <a:gd name="T2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61">
                  <a:moveTo>
                    <a:pt x="75" y="0"/>
                  </a:moveTo>
                  <a:cubicBezTo>
                    <a:pt x="56" y="25"/>
                    <a:pt x="28" y="47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1" y="61"/>
                  </a:cubicBezTo>
                  <a:cubicBezTo>
                    <a:pt x="1" y="61"/>
                    <a:pt x="2" y="61"/>
                    <a:pt x="3" y="60"/>
                  </a:cubicBezTo>
                  <a:cubicBezTo>
                    <a:pt x="5" y="59"/>
                    <a:pt x="8" y="58"/>
                    <a:pt x="12" y="55"/>
                  </a:cubicBezTo>
                  <a:cubicBezTo>
                    <a:pt x="20" y="51"/>
                    <a:pt x="31" y="44"/>
                    <a:pt x="42" y="35"/>
                  </a:cubicBezTo>
                  <a:cubicBezTo>
                    <a:pt x="53" y="26"/>
                    <a:pt x="62" y="16"/>
                    <a:pt x="68" y="9"/>
                  </a:cubicBezTo>
                  <a:cubicBezTo>
                    <a:pt x="71" y="5"/>
                    <a:pt x="73" y="2"/>
                    <a:pt x="74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Freeform 275">
              <a:extLst>
                <a:ext uri="{FF2B5EF4-FFF2-40B4-BE49-F238E27FC236}">
                  <a16:creationId xmlns:a16="http://schemas.microsoft.com/office/drawing/2014/main" id="{224E3437-EB03-F2F4-05FD-9D8D2ADEC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" y="238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Freeform 276">
              <a:extLst>
                <a:ext uri="{FF2B5EF4-FFF2-40B4-BE49-F238E27FC236}">
                  <a16:creationId xmlns:a16="http://schemas.microsoft.com/office/drawing/2014/main" id="{D1419206-B633-F36C-51CD-6017BA4BA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2" y="2692"/>
              <a:ext cx="125" cy="764"/>
            </a:xfrm>
            <a:custGeom>
              <a:avLst/>
              <a:gdLst>
                <a:gd name="T0" fmla="*/ 0 w 125"/>
                <a:gd name="T1" fmla="*/ 764 h 764"/>
                <a:gd name="T2" fmla="*/ 38 w 125"/>
                <a:gd name="T3" fmla="*/ 764 h 764"/>
                <a:gd name="T4" fmla="*/ 125 w 125"/>
                <a:gd name="T5" fmla="*/ 5 h 764"/>
                <a:gd name="T6" fmla="*/ 86 w 125"/>
                <a:gd name="T7" fmla="*/ 0 h 764"/>
                <a:gd name="T8" fmla="*/ 0 w 125"/>
                <a:gd name="T9" fmla="*/ 764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764">
                  <a:moveTo>
                    <a:pt x="0" y="764"/>
                  </a:moveTo>
                  <a:lnTo>
                    <a:pt x="38" y="764"/>
                  </a:lnTo>
                  <a:lnTo>
                    <a:pt x="125" y="5"/>
                  </a:lnTo>
                  <a:lnTo>
                    <a:pt x="86" y="0"/>
                  </a:lnTo>
                  <a:lnTo>
                    <a:pt x="0" y="764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Freeform 277">
              <a:extLst>
                <a:ext uri="{FF2B5EF4-FFF2-40B4-BE49-F238E27FC236}">
                  <a16:creationId xmlns:a16="http://schemas.microsoft.com/office/drawing/2014/main" id="{A626FA41-226E-B6DA-4D75-13B04C281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1" y="2692"/>
              <a:ext cx="125" cy="764"/>
            </a:xfrm>
            <a:custGeom>
              <a:avLst/>
              <a:gdLst>
                <a:gd name="T0" fmla="*/ 0 w 125"/>
                <a:gd name="T1" fmla="*/ 764 h 764"/>
                <a:gd name="T2" fmla="*/ 39 w 125"/>
                <a:gd name="T3" fmla="*/ 764 h 764"/>
                <a:gd name="T4" fmla="*/ 125 w 125"/>
                <a:gd name="T5" fmla="*/ 5 h 764"/>
                <a:gd name="T6" fmla="*/ 87 w 125"/>
                <a:gd name="T7" fmla="*/ 0 h 764"/>
                <a:gd name="T8" fmla="*/ 0 w 125"/>
                <a:gd name="T9" fmla="*/ 764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764">
                  <a:moveTo>
                    <a:pt x="0" y="764"/>
                  </a:moveTo>
                  <a:lnTo>
                    <a:pt x="39" y="764"/>
                  </a:lnTo>
                  <a:lnTo>
                    <a:pt x="125" y="5"/>
                  </a:lnTo>
                  <a:lnTo>
                    <a:pt x="87" y="0"/>
                  </a:lnTo>
                  <a:lnTo>
                    <a:pt x="0" y="764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Freeform 278">
              <a:extLst>
                <a:ext uri="{FF2B5EF4-FFF2-40B4-BE49-F238E27FC236}">
                  <a16:creationId xmlns:a16="http://schemas.microsoft.com/office/drawing/2014/main" id="{42A7E378-9F7A-4990-9C83-EE45B958B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6" y="2700"/>
              <a:ext cx="126" cy="758"/>
            </a:xfrm>
            <a:custGeom>
              <a:avLst/>
              <a:gdLst>
                <a:gd name="T0" fmla="*/ 126 w 126"/>
                <a:gd name="T1" fmla="*/ 758 h 758"/>
                <a:gd name="T2" fmla="*/ 87 w 126"/>
                <a:gd name="T3" fmla="*/ 758 h 758"/>
                <a:gd name="T4" fmla="*/ 0 w 126"/>
                <a:gd name="T5" fmla="*/ 5 h 758"/>
                <a:gd name="T6" fmla="*/ 39 w 126"/>
                <a:gd name="T7" fmla="*/ 0 h 758"/>
                <a:gd name="T8" fmla="*/ 126 w 126"/>
                <a:gd name="T9" fmla="*/ 758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758">
                  <a:moveTo>
                    <a:pt x="126" y="758"/>
                  </a:moveTo>
                  <a:lnTo>
                    <a:pt x="87" y="758"/>
                  </a:lnTo>
                  <a:lnTo>
                    <a:pt x="0" y="5"/>
                  </a:lnTo>
                  <a:lnTo>
                    <a:pt x="39" y="0"/>
                  </a:lnTo>
                  <a:lnTo>
                    <a:pt x="126" y="758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Freeform 279">
              <a:extLst>
                <a:ext uri="{FF2B5EF4-FFF2-40B4-BE49-F238E27FC236}">
                  <a16:creationId xmlns:a16="http://schemas.microsoft.com/office/drawing/2014/main" id="{F360E97E-4270-49C5-99F8-74E5B4379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4" y="2700"/>
              <a:ext cx="127" cy="758"/>
            </a:xfrm>
            <a:custGeom>
              <a:avLst/>
              <a:gdLst>
                <a:gd name="T0" fmla="*/ 127 w 127"/>
                <a:gd name="T1" fmla="*/ 758 h 758"/>
                <a:gd name="T2" fmla="*/ 87 w 127"/>
                <a:gd name="T3" fmla="*/ 758 h 758"/>
                <a:gd name="T4" fmla="*/ 0 w 127"/>
                <a:gd name="T5" fmla="*/ 5 h 758"/>
                <a:gd name="T6" fmla="*/ 39 w 127"/>
                <a:gd name="T7" fmla="*/ 0 h 758"/>
                <a:gd name="T8" fmla="*/ 127 w 127"/>
                <a:gd name="T9" fmla="*/ 758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758">
                  <a:moveTo>
                    <a:pt x="127" y="758"/>
                  </a:moveTo>
                  <a:lnTo>
                    <a:pt x="87" y="758"/>
                  </a:lnTo>
                  <a:lnTo>
                    <a:pt x="0" y="5"/>
                  </a:lnTo>
                  <a:lnTo>
                    <a:pt x="39" y="0"/>
                  </a:lnTo>
                  <a:lnTo>
                    <a:pt x="127" y="758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Freeform 280">
              <a:extLst>
                <a:ext uri="{FF2B5EF4-FFF2-40B4-BE49-F238E27FC236}">
                  <a16:creationId xmlns:a16="http://schemas.microsoft.com/office/drawing/2014/main" id="{2C8E4DEF-8781-488C-49E2-0D65BDADB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4" y="2700"/>
              <a:ext cx="127" cy="758"/>
            </a:xfrm>
            <a:custGeom>
              <a:avLst/>
              <a:gdLst>
                <a:gd name="T0" fmla="*/ 127 w 127"/>
                <a:gd name="T1" fmla="*/ 758 h 758"/>
                <a:gd name="T2" fmla="*/ 87 w 127"/>
                <a:gd name="T3" fmla="*/ 758 h 758"/>
                <a:gd name="T4" fmla="*/ 0 w 127"/>
                <a:gd name="T5" fmla="*/ 5 h 758"/>
                <a:gd name="T6" fmla="*/ 39 w 127"/>
                <a:gd name="T7" fmla="*/ 0 h 758"/>
                <a:gd name="T8" fmla="*/ 127 w 127"/>
                <a:gd name="T9" fmla="*/ 758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758">
                  <a:moveTo>
                    <a:pt x="127" y="758"/>
                  </a:moveTo>
                  <a:lnTo>
                    <a:pt x="87" y="758"/>
                  </a:lnTo>
                  <a:lnTo>
                    <a:pt x="0" y="5"/>
                  </a:lnTo>
                  <a:lnTo>
                    <a:pt x="39" y="0"/>
                  </a:lnTo>
                  <a:lnTo>
                    <a:pt x="127" y="75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Rectangle 281">
              <a:extLst>
                <a:ext uri="{FF2B5EF4-FFF2-40B4-BE49-F238E27FC236}">
                  <a16:creationId xmlns:a16="http://schemas.microsoft.com/office/drawing/2014/main" id="{C41E1901-3A09-F075-A972-E05A41FE1C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3" y="2741"/>
              <a:ext cx="789" cy="81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Freeform 282">
              <a:extLst>
                <a:ext uri="{FF2B5EF4-FFF2-40B4-BE49-F238E27FC236}">
                  <a16:creationId xmlns:a16="http://schemas.microsoft.com/office/drawing/2014/main" id="{EDF54169-B08A-26B1-2984-D544B39DD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829"/>
              <a:ext cx="573" cy="920"/>
            </a:xfrm>
            <a:custGeom>
              <a:avLst/>
              <a:gdLst>
                <a:gd name="T0" fmla="*/ 505 w 573"/>
                <a:gd name="T1" fmla="*/ 0 h 920"/>
                <a:gd name="T2" fmla="*/ 5 w 573"/>
                <a:gd name="T3" fmla="*/ 7 h 920"/>
                <a:gd name="T4" fmla="*/ 0 w 573"/>
                <a:gd name="T5" fmla="*/ 912 h 920"/>
                <a:gd name="T6" fmla="*/ 573 w 573"/>
                <a:gd name="T7" fmla="*/ 920 h 920"/>
                <a:gd name="T8" fmla="*/ 505 w 573"/>
                <a:gd name="T9" fmla="*/ 0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3" h="920">
                  <a:moveTo>
                    <a:pt x="505" y="0"/>
                  </a:moveTo>
                  <a:lnTo>
                    <a:pt x="5" y="7"/>
                  </a:lnTo>
                  <a:lnTo>
                    <a:pt x="0" y="912"/>
                  </a:lnTo>
                  <a:lnTo>
                    <a:pt x="573" y="920"/>
                  </a:lnTo>
                  <a:lnTo>
                    <a:pt x="505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Freeform 283">
              <a:extLst>
                <a:ext uri="{FF2B5EF4-FFF2-40B4-BE49-F238E27FC236}">
                  <a16:creationId xmlns:a16="http://schemas.microsoft.com/office/drawing/2014/main" id="{3BFD7EA2-DC93-E060-4818-477A12B60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829"/>
              <a:ext cx="573" cy="920"/>
            </a:xfrm>
            <a:custGeom>
              <a:avLst/>
              <a:gdLst>
                <a:gd name="T0" fmla="*/ 505 w 573"/>
                <a:gd name="T1" fmla="*/ 0 h 920"/>
                <a:gd name="T2" fmla="*/ 5 w 573"/>
                <a:gd name="T3" fmla="*/ 7 h 920"/>
                <a:gd name="T4" fmla="*/ 0 w 573"/>
                <a:gd name="T5" fmla="*/ 912 h 920"/>
                <a:gd name="T6" fmla="*/ 573 w 573"/>
                <a:gd name="T7" fmla="*/ 920 h 920"/>
                <a:gd name="T8" fmla="*/ 505 w 573"/>
                <a:gd name="T9" fmla="*/ 0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3" h="920">
                  <a:moveTo>
                    <a:pt x="505" y="0"/>
                  </a:moveTo>
                  <a:lnTo>
                    <a:pt x="5" y="7"/>
                  </a:lnTo>
                  <a:lnTo>
                    <a:pt x="0" y="912"/>
                  </a:lnTo>
                  <a:lnTo>
                    <a:pt x="573" y="920"/>
                  </a:lnTo>
                  <a:lnTo>
                    <a:pt x="5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Freeform 284">
              <a:extLst>
                <a:ext uri="{FF2B5EF4-FFF2-40B4-BE49-F238E27FC236}">
                  <a16:creationId xmlns:a16="http://schemas.microsoft.com/office/drawing/2014/main" id="{6F912A80-EA57-98CD-B958-917E1ACE1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" y="1760"/>
              <a:ext cx="915" cy="807"/>
            </a:xfrm>
            <a:custGeom>
              <a:avLst/>
              <a:gdLst>
                <a:gd name="T0" fmla="*/ 412 w 556"/>
                <a:gd name="T1" fmla="*/ 257 h 490"/>
                <a:gd name="T2" fmla="*/ 379 w 556"/>
                <a:gd name="T3" fmla="*/ 211 h 490"/>
                <a:gd name="T4" fmla="*/ 358 w 556"/>
                <a:gd name="T5" fmla="*/ 129 h 490"/>
                <a:gd name="T6" fmla="*/ 351 w 556"/>
                <a:gd name="T7" fmla="*/ 113 h 490"/>
                <a:gd name="T8" fmla="*/ 305 w 556"/>
                <a:gd name="T9" fmla="*/ 69 h 490"/>
                <a:gd name="T10" fmla="*/ 261 w 556"/>
                <a:gd name="T11" fmla="*/ 44 h 490"/>
                <a:gd name="T12" fmla="*/ 250 w 556"/>
                <a:gd name="T13" fmla="*/ 21 h 490"/>
                <a:gd name="T14" fmla="*/ 137 w 556"/>
                <a:gd name="T15" fmla="*/ 0 h 490"/>
                <a:gd name="T16" fmla="*/ 115 w 556"/>
                <a:gd name="T17" fmla="*/ 27 h 490"/>
                <a:gd name="T18" fmla="*/ 18 w 556"/>
                <a:gd name="T19" fmla="*/ 69 h 490"/>
                <a:gd name="T20" fmla="*/ 42 w 556"/>
                <a:gd name="T21" fmla="*/ 282 h 490"/>
                <a:gd name="T22" fmla="*/ 7 w 556"/>
                <a:gd name="T23" fmla="*/ 430 h 490"/>
                <a:gd name="T24" fmla="*/ 9 w 556"/>
                <a:gd name="T25" fmla="*/ 490 h 490"/>
                <a:gd name="T26" fmla="*/ 67 w 556"/>
                <a:gd name="T27" fmla="*/ 435 h 490"/>
                <a:gd name="T28" fmla="*/ 137 w 556"/>
                <a:gd name="T29" fmla="*/ 391 h 490"/>
                <a:gd name="T30" fmla="*/ 354 w 556"/>
                <a:gd name="T31" fmla="*/ 392 h 490"/>
                <a:gd name="T32" fmla="*/ 346 w 556"/>
                <a:gd name="T33" fmla="*/ 331 h 490"/>
                <a:gd name="T34" fmla="*/ 521 w 556"/>
                <a:gd name="T35" fmla="*/ 365 h 490"/>
                <a:gd name="T36" fmla="*/ 554 w 556"/>
                <a:gd name="T37" fmla="*/ 305 h 490"/>
                <a:gd name="T38" fmla="*/ 412 w 556"/>
                <a:gd name="T39" fmla="*/ 257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6" h="490">
                  <a:moveTo>
                    <a:pt x="412" y="257"/>
                  </a:moveTo>
                  <a:cubicBezTo>
                    <a:pt x="411" y="247"/>
                    <a:pt x="379" y="211"/>
                    <a:pt x="379" y="211"/>
                  </a:cubicBezTo>
                  <a:cubicBezTo>
                    <a:pt x="379" y="211"/>
                    <a:pt x="363" y="148"/>
                    <a:pt x="358" y="129"/>
                  </a:cubicBezTo>
                  <a:cubicBezTo>
                    <a:pt x="357" y="124"/>
                    <a:pt x="354" y="119"/>
                    <a:pt x="351" y="113"/>
                  </a:cubicBezTo>
                  <a:cubicBezTo>
                    <a:pt x="340" y="95"/>
                    <a:pt x="324" y="79"/>
                    <a:pt x="305" y="69"/>
                  </a:cubicBezTo>
                  <a:cubicBezTo>
                    <a:pt x="261" y="44"/>
                    <a:pt x="261" y="44"/>
                    <a:pt x="261" y="44"/>
                  </a:cubicBezTo>
                  <a:cubicBezTo>
                    <a:pt x="250" y="21"/>
                    <a:pt x="250" y="21"/>
                    <a:pt x="250" y="21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15" y="27"/>
                    <a:pt x="115" y="27"/>
                    <a:pt x="115" y="27"/>
                  </a:cubicBezTo>
                  <a:cubicBezTo>
                    <a:pt x="115" y="27"/>
                    <a:pt x="29" y="59"/>
                    <a:pt x="18" y="69"/>
                  </a:cubicBezTo>
                  <a:cubicBezTo>
                    <a:pt x="4" y="81"/>
                    <a:pt x="42" y="282"/>
                    <a:pt x="42" y="282"/>
                  </a:cubicBezTo>
                  <a:cubicBezTo>
                    <a:pt x="42" y="282"/>
                    <a:pt x="13" y="404"/>
                    <a:pt x="7" y="430"/>
                  </a:cubicBezTo>
                  <a:cubicBezTo>
                    <a:pt x="0" y="455"/>
                    <a:pt x="9" y="490"/>
                    <a:pt x="9" y="490"/>
                  </a:cubicBezTo>
                  <a:cubicBezTo>
                    <a:pt x="67" y="435"/>
                    <a:pt x="67" y="435"/>
                    <a:pt x="67" y="435"/>
                  </a:cubicBezTo>
                  <a:cubicBezTo>
                    <a:pt x="83" y="415"/>
                    <a:pt x="112" y="391"/>
                    <a:pt x="137" y="391"/>
                  </a:cubicBezTo>
                  <a:cubicBezTo>
                    <a:pt x="354" y="392"/>
                    <a:pt x="354" y="392"/>
                    <a:pt x="354" y="392"/>
                  </a:cubicBezTo>
                  <a:cubicBezTo>
                    <a:pt x="346" y="331"/>
                    <a:pt x="346" y="331"/>
                    <a:pt x="346" y="331"/>
                  </a:cubicBezTo>
                  <a:cubicBezTo>
                    <a:pt x="521" y="365"/>
                    <a:pt x="521" y="365"/>
                    <a:pt x="521" y="365"/>
                  </a:cubicBezTo>
                  <a:cubicBezTo>
                    <a:pt x="521" y="365"/>
                    <a:pt x="551" y="306"/>
                    <a:pt x="554" y="305"/>
                  </a:cubicBezTo>
                  <a:cubicBezTo>
                    <a:pt x="556" y="304"/>
                    <a:pt x="412" y="257"/>
                    <a:pt x="412" y="257"/>
                  </a:cubicBezTo>
                </a:path>
              </a:pathLst>
            </a:custGeom>
            <a:solidFill>
              <a:srgbClr val="54EE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Freeform 285">
              <a:extLst>
                <a:ext uri="{FF2B5EF4-FFF2-40B4-BE49-F238E27FC236}">
                  <a16:creationId xmlns:a16="http://schemas.microsoft.com/office/drawing/2014/main" id="{F30A2F9C-672D-64EF-AC31-B3BD8028D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1809"/>
              <a:ext cx="248" cy="578"/>
            </a:xfrm>
            <a:custGeom>
              <a:avLst/>
              <a:gdLst>
                <a:gd name="T0" fmla="*/ 2 w 151"/>
                <a:gd name="T1" fmla="*/ 2 h 351"/>
                <a:gd name="T2" fmla="*/ 33 w 151"/>
                <a:gd name="T3" fmla="*/ 99 h 351"/>
                <a:gd name="T4" fmla="*/ 47 w 151"/>
                <a:gd name="T5" fmla="*/ 179 h 351"/>
                <a:gd name="T6" fmla="*/ 47 w 151"/>
                <a:gd name="T7" fmla="*/ 283 h 351"/>
                <a:gd name="T8" fmla="*/ 47 w 151"/>
                <a:gd name="T9" fmla="*/ 351 h 351"/>
                <a:gd name="T10" fmla="*/ 151 w 151"/>
                <a:gd name="T11" fmla="*/ 344 h 351"/>
                <a:gd name="T12" fmla="*/ 135 w 151"/>
                <a:gd name="T13" fmla="*/ 231 h 351"/>
                <a:gd name="T14" fmla="*/ 119 w 151"/>
                <a:gd name="T15" fmla="*/ 130 h 351"/>
                <a:gd name="T16" fmla="*/ 104 w 151"/>
                <a:gd name="T17" fmla="*/ 27 h 351"/>
                <a:gd name="T18" fmla="*/ 2 w 151"/>
                <a:gd name="T19" fmla="*/ 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1" h="351">
                  <a:moveTo>
                    <a:pt x="2" y="2"/>
                  </a:moveTo>
                  <a:cubicBezTo>
                    <a:pt x="0" y="0"/>
                    <a:pt x="15" y="52"/>
                    <a:pt x="33" y="99"/>
                  </a:cubicBezTo>
                  <a:cubicBezTo>
                    <a:pt x="42" y="125"/>
                    <a:pt x="47" y="152"/>
                    <a:pt x="47" y="179"/>
                  </a:cubicBezTo>
                  <a:cubicBezTo>
                    <a:pt x="47" y="283"/>
                    <a:pt x="47" y="283"/>
                    <a:pt x="47" y="283"/>
                  </a:cubicBezTo>
                  <a:cubicBezTo>
                    <a:pt x="47" y="351"/>
                    <a:pt x="47" y="351"/>
                    <a:pt x="47" y="351"/>
                  </a:cubicBezTo>
                  <a:cubicBezTo>
                    <a:pt x="151" y="344"/>
                    <a:pt x="151" y="344"/>
                    <a:pt x="151" y="344"/>
                  </a:cubicBezTo>
                  <a:cubicBezTo>
                    <a:pt x="135" y="231"/>
                    <a:pt x="135" y="231"/>
                    <a:pt x="135" y="231"/>
                  </a:cubicBezTo>
                  <a:cubicBezTo>
                    <a:pt x="135" y="231"/>
                    <a:pt x="122" y="158"/>
                    <a:pt x="119" y="130"/>
                  </a:cubicBezTo>
                  <a:cubicBezTo>
                    <a:pt x="116" y="105"/>
                    <a:pt x="104" y="27"/>
                    <a:pt x="104" y="27"/>
                  </a:cubicBezTo>
                  <a:cubicBezTo>
                    <a:pt x="104" y="27"/>
                    <a:pt x="45" y="46"/>
                    <a:pt x="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Freeform 286">
              <a:extLst>
                <a:ext uri="{FF2B5EF4-FFF2-40B4-BE49-F238E27FC236}">
                  <a16:creationId xmlns:a16="http://schemas.microsoft.com/office/drawing/2014/main" id="{6F4275E9-35F3-7D9D-59DB-D84F2535C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5" y="2183"/>
              <a:ext cx="71" cy="71"/>
            </a:xfrm>
            <a:custGeom>
              <a:avLst/>
              <a:gdLst>
                <a:gd name="T0" fmla="*/ 0 w 43"/>
                <a:gd name="T1" fmla="*/ 43 h 43"/>
                <a:gd name="T2" fmla="*/ 0 w 43"/>
                <a:gd name="T3" fmla="*/ 40 h 43"/>
                <a:gd name="T4" fmla="*/ 1 w 43"/>
                <a:gd name="T5" fmla="*/ 33 h 43"/>
                <a:gd name="T6" fmla="*/ 13 w 43"/>
                <a:gd name="T7" fmla="*/ 13 h 43"/>
                <a:gd name="T8" fmla="*/ 33 w 43"/>
                <a:gd name="T9" fmla="*/ 1 h 43"/>
                <a:gd name="T10" fmla="*/ 40 w 43"/>
                <a:gd name="T11" fmla="*/ 0 h 43"/>
                <a:gd name="T12" fmla="*/ 43 w 43"/>
                <a:gd name="T13" fmla="*/ 0 h 43"/>
                <a:gd name="T14" fmla="*/ 34 w 43"/>
                <a:gd name="T15" fmla="*/ 2 h 43"/>
                <a:gd name="T16" fmla="*/ 15 w 43"/>
                <a:gd name="T17" fmla="*/ 14 h 43"/>
                <a:gd name="T18" fmla="*/ 3 w 43"/>
                <a:gd name="T19" fmla="*/ 34 h 43"/>
                <a:gd name="T20" fmla="*/ 0 w 43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43">
                  <a:moveTo>
                    <a:pt x="0" y="43"/>
                  </a:moveTo>
                  <a:cubicBezTo>
                    <a:pt x="0" y="43"/>
                    <a:pt x="0" y="42"/>
                    <a:pt x="0" y="40"/>
                  </a:cubicBezTo>
                  <a:cubicBezTo>
                    <a:pt x="0" y="39"/>
                    <a:pt x="1" y="36"/>
                    <a:pt x="1" y="33"/>
                  </a:cubicBezTo>
                  <a:cubicBezTo>
                    <a:pt x="3" y="28"/>
                    <a:pt x="7" y="20"/>
                    <a:pt x="13" y="13"/>
                  </a:cubicBezTo>
                  <a:cubicBezTo>
                    <a:pt x="20" y="7"/>
                    <a:pt x="28" y="3"/>
                    <a:pt x="33" y="1"/>
                  </a:cubicBezTo>
                  <a:cubicBezTo>
                    <a:pt x="36" y="0"/>
                    <a:pt x="39" y="0"/>
                    <a:pt x="40" y="0"/>
                  </a:cubicBezTo>
                  <a:cubicBezTo>
                    <a:pt x="42" y="0"/>
                    <a:pt x="43" y="0"/>
                    <a:pt x="43" y="0"/>
                  </a:cubicBezTo>
                  <a:cubicBezTo>
                    <a:pt x="43" y="0"/>
                    <a:pt x="39" y="1"/>
                    <a:pt x="34" y="2"/>
                  </a:cubicBezTo>
                  <a:cubicBezTo>
                    <a:pt x="28" y="4"/>
                    <a:pt x="21" y="8"/>
                    <a:pt x="15" y="14"/>
                  </a:cubicBezTo>
                  <a:cubicBezTo>
                    <a:pt x="8" y="21"/>
                    <a:pt x="5" y="28"/>
                    <a:pt x="3" y="34"/>
                  </a:cubicBezTo>
                  <a:cubicBezTo>
                    <a:pt x="1" y="39"/>
                    <a:pt x="0" y="43"/>
                    <a:pt x="0" y="4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Freeform 287">
              <a:extLst>
                <a:ext uri="{FF2B5EF4-FFF2-40B4-BE49-F238E27FC236}">
                  <a16:creationId xmlns:a16="http://schemas.microsoft.com/office/drawing/2014/main" id="{DE300B3E-C277-D077-C19A-8AE917CB2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3" y="2176"/>
              <a:ext cx="54" cy="10"/>
            </a:xfrm>
            <a:custGeom>
              <a:avLst/>
              <a:gdLst>
                <a:gd name="T0" fmla="*/ 0 w 33"/>
                <a:gd name="T1" fmla="*/ 6 h 6"/>
                <a:gd name="T2" fmla="*/ 16 w 33"/>
                <a:gd name="T3" fmla="*/ 1 h 6"/>
                <a:gd name="T4" fmla="*/ 33 w 33"/>
                <a:gd name="T5" fmla="*/ 3 h 6"/>
                <a:gd name="T6" fmla="*/ 16 w 33"/>
                <a:gd name="T7" fmla="*/ 3 h 6"/>
                <a:gd name="T8" fmla="*/ 0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6"/>
                  </a:moveTo>
                  <a:cubicBezTo>
                    <a:pt x="0" y="5"/>
                    <a:pt x="7" y="2"/>
                    <a:pt x="16" y="1"/>
                  </a:cubicBezTo>
                  <a:cubicBezTo>
                    <a:pt x="26" y="0"/>
                    <a:pt x="33" y="3"/>
                    <a:pt x="33" y="3"/>
                  </a:cubicBezTo>
                  <a:cubicBezTo>
                    <a:pt x="33" y="4"/>
                    <a:pt x="25" y="2"/>
                    <a:pt x="16" y="3"/>
                  </a:cubicBezTo>
                  <a:cubicBezTo>
                    <a:pt x="7" y="4"/>
                    <a:pt x="1" y="6"/>
                    <a:pt x="0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Freeform 288">
              <a:extLst>
                <a:ext uri="{FF2B5EF4-FFF2-40B4-BE49-F238E27FC236}">
                  <a16:creationId xmlns:a16="http://schemas.microsoft.com/office/drawing/2014/main" id="{E06D6CFE-568F-344B-B74F-E6E6FB406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" y="2356"/>
              <a:ext cx="2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solidFill>
              <a:srgbClr val="303F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Freeform 289">
              <a:extLst>
                <a:ext uri="{FF2B5EF4-FFF2-40B4-BE49-F238E27FC236}">
                  <a16:creationId xmlns:a16="http://schemas.microsoft.com/office/drawing/2014/main" id="{3D580D99-8B60-A7E0-8762-6FD656080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" y="2339"/>
              <a:ext cx="242" cy="65"/>
            </a:xfrm>
            <a:custGeom>
              <a:avLst/>
              <a:gdLst>
                <a:gd name="T0" fmla="*/ 8 w 147"/>
                <a:gd name="T1" fmla="*/ 0 h 39"/>
                <a:gd name="T2" fmla="*/ 0 w 147"/>
                <a:gd name="T3" fmla="*/ 10 h 39"/>
                <a:gd name="T4" fmla="*/ 0 w 147"/>
                <a:gd name="T5" fmla="*/ 11 h 39"/>
                <a:gd name="T6" fmla="*/ 36 w 147"/>
                <a:gd name="T7" fmla="*/ 35 h 39"/>
                <a:gd name="T8" fmla="*/ 80 w 147"/>
                <a:gd name="T9" fmla="*/ 39 h 39"/>
                <a:gd name="T10" fmla="*/ 81 w 147"/>
                <a:gd name="T11" fmla="*/ 39 h 39"/>
                <a:gd name="T12" fmla="*/ 98 w 147"/>
                <a:gd name="T13" fmla="*/ 37 h 39"/>
                <a:gd name="T14" fmla="*/ 116 w 147"/>
                <a:gd name="T15" fmla="*/ 32 h 39"/>
                <a:gd name="T16" fmla="*/ 117 w 147"/>
                <a:gd name="T17" fmla="*/ 32 h 39"/>
                <a:gd name="T18" fmla="*/ 128 w 147"/>
                <a:gd name="T19" fmla="*/ 34 h 39"/>
                <a:gd name="T20" fmla="*/ 135 w 147"/>
                <a:gd name="T21" fmla="*/ 34 h 39"/>
                <a:gd name="T22" fmla="*/ 140 w 147"/>
                <a:gd name="T23" fmla="*/ 34 h 39"/>
                <a:gd name="T24" fmla="*/ 147 w 147"/>
                <a:gd name="T25" fmla="*/ 25 h 39"/>
                <a:gd name="T26" fmla="*/ 8 w 147"/>
                <a:gd name="T2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39">
                  <a:moveTo>
                    <a:pt x="8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9" y="22"/>
                    <a:pt x="22" y="31"/>
                    <a:pt x="36" y="35"/>
                  </a:cubicBezTo>
                  <a:cubicBezTo>
                    <a:pt x="50" y="38"/>
                    <a:pt x="65" y="39"/>
                    <a:pt x="80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7" y="39"/>
                    <a:pt x="93" y="39"/>
                    <a:pt x="98" y="37"/>
                  </a:cubicBezTo>
                  <a:cubicBezTo>
                    <a:pt x="104" y="35"/>
                    <a:pt x="109" y="32"/>
                    <a:pt x="116" y="32"/>
                  </a:cubicBezTo>
                  <a:cubicBezTo>
                    <a:pt x="116" y="32"/>
                    <a:pt x="116" y="32"/>
                    <a:pt x="117" y="32"/>
                  </a:cubicBezTo>
                  <a:cubicBezTo>
                    <a:pt x="120" y="32"/>
                    <a:pt x="124" y="33"/>
                    <a:pt x="128" y="34"/>
                  </a:cubicBezTo>
                  <a:cubicBezTo>
                    <a:pt x="130" y="34"/>
                    <a:pt x="132" y="34"/>
                    <a:pt x="135" y="34"/>
                  </a:cubicBezTo>
                  <a:cubicBezTo>
                    <a:pt x="137" y="34"/>
                    <a:pt x="138" y="34"/>
                    <a:pt x="140" y="34"/>
                  </a:cubicBezTo>
                  <a:cubicBezTo>
                    <a:pt x="144" y="32"/>
                    <a:pt x="147" y="29"/>
                    <a:pt x="147" y="25"/>
                  </a:cubicBezTo>
                  <a:cubicBezTo>
                    <a:pt x="102" y="12"/>
                    <a:pt x="55" y="3"/>
                    <a:pt x="8" y="0"/>
                  </a:cubicBezTo>
                </a:path>
              </a:pathLst>
            </a:custGeom>
            <a:solidFill>
              <a:srgbClr val="17E3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Freeform 290">
              <a:extLst>
                <a:ext uri="{FF2B5EF4-FFF2-40B4-BE49-F238E27FC236}">
                  <a16:creationId xmlns:a16="http://schemas.microsoft.com/office/drawing/2014/main" id="{C0506E26-BA6C-E7A0-A3A0-70830B98D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3" y="2295"/>
              <a:ext cx="308" cy="100"/>
            </a:xfrm>
            <a:custGeom>
              <a:avLst/>
              <a:gdLst>
                <a:gd name="T0" fmla="*/ 183 w 187"/>
                <a:gd name="T1" fmla="*/ 41 h 61"/>
                <a:gd name="T2" fmla="*/ 158 w 187"/>
                <a:gd name="T3" fmla="*/ 13 h 61"/>
                <a:gd name="T4" fmla="*/ 105 w 187"/>
                <a:gd name="T5" fmla="*/ 0 h 61"/>
                <a:gd name="T6" fmla="*/ 56 w 187"/>
                <a:gd name="T7" fmla="*/ 15 h 61"/>
                <a:gd name="T8" fmla="*/ 14 w 187"/>
                <a:gd name="T9" fmla="*/ 3 h 61"/>
                <a:gd name="T10" fmla="*/ 0 w 187"/>
                <a:gd name="T11" fmla="*/ 56 h 61"/>
                <a:gd name="T12" fmla="*/ 73 w 187"/>
                <a:gd name="T13" fmla="*/ 61 h 61"/>
                <a:gd name="T14" fmla="*/ 157 w 187"/>
                <a:gd name="T15" fmla="*/ 57 h 61"/>
                <a:gd name="T16" fmla="*/ 159 w 187"/>
                <a:gd name="T17" fmla="*/ 50 h 61"/>
                <a:gd name="T18" fmla="*/ 175 w 187"/>
                <a:gd name="T19" fmla="*/ 55 h 61"/>
                <a:gd name="T20" fmla="*/ 183 w 187"/>
                <a:gd name="T21" fmla="*/ 54 h 61"/>
                <a:gd name="T22" fmla="*/ 183 w 187"/>
                <a:gd name="T23" fmla="*/ 4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7" h="61">
                  <a:moveTo>
                    <a:pt x="183" y="41"/>
                  </a:moveTo>
                  <a:cubicBezTo>
                    <a:pt x="158" y="13"/>
                    <a:pt x="158" y="13"/>
                    <a:pt x="158" y="13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57" y="15"/>
                    <a:pt x="56" y="15"/>
                  </a:cubicBezTo>
                  <a:cubicBezTo>
                    <a:pt x="55" y="14"/>
                    <a:pt x="14" y="3"/>
                    <a:pt x="14" y="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157" y="57"/>
                    <a:pt x="157" y="57"/>
                    <a:pt x="157" y="57"/>
                  </a:cubicBezTo>
                  <a:cubicBezTo>
                    <a:pt x="157" y="57"/>
                    <a:pt x="161" y="53"/>
                    <a:pt x="159" y="50"/>
                  </a:cubicBezTo>
                  <a:cubicBezTo>
                    <a:pt x="156" y="48"/>
                    <a:pt x="173" y="55"/>
                    <a:pt x="175" y="55"/>
                  </a:cubicBezTo>
                  <a:cubicBezTo>
                    <a:pt x="177" y="55"/>
                    <a:pt x="180" y="57"/>
                    <a:pt x="183" y="54"/>
                  </a:cubicBezTo>
                  <a:cubicBezTo>
                    <a:pt x="185" y="52"/>
                    <a:pt x="187" y="45"/>
                    <a:pt x="183" y="41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Freeform 291">
              <a:extLst>
                <a:ext uri="{FF2B5EF4-FFF2-40B4-BE49-F238E27FC236}">
                  <a16:creationId xmlns:a16="http://schemas.microsoft.com/office/drawing/2014/main" id="{40FE139E-7749-1DC7-A08D-956246814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1" y="2353"/>
              <a:ext cx="94" cy="26"/>
            </a:xfrm>
            <a:custGeom>
              <a:avLst/>
              <a:gdLst>
                <a:gd name="T0" fmla="*/ 57 w 57"/>
                <a:gd name="T1" fmla="*/ 15 h 16"/>
                <a:gd name="T2" fmla="*/ 48 w 57"/>
                <a:gd name="T3" fmla="*/ 13 h 16"/>
                <a:gd name="T4" fmla="*/ 28 w 57"/>
                <a:gd name="T5" fmla="*/ 7 h 16"/>
                <a:gd name="T6" fmla="*/ 8 w 57"/>
                <a:gd name="T7" fmla="*/ 3 h 16"/>
                <a:gd name="T8" fmla="*/ 0 w 57"/>
                <a:gd name="T9" fmla="*/ 1 h 16"/>
                <a:gd name="T10" fmla="*/ 8 w 57"/>
                <a:gd name="T11" fmla="*/ 1 h 16"/>
                <a:gd name="T12" fmla="*/ 29 w 57"/>
                <a:gd name="T13" fmla="*/ 5 h 16"/>
                <a:gd name="T14" fmla="*/ 49 w 57"/>
                <a:gd name="T15" fmla="*/ 12 h 16"/>
                <a:gd name="T16" fmla="*/ 57 w 57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16">
                  <a:moveTo>
                    <a:pt x="57" y="15"/>
                  </a:moveTo>
                  <a:cubicBezTo>
                    <a:pt x="57" y="16"/>
                    <a:pt x="53" y="15"/>
                    <a:pt x="48" y="13"/>
                  </a:cubicBezTo>
                  <a:cubicBezTo>
                    <a:pt x="43" y="11"/>
                    <a:pt x="36" y="9"/>
                    <a:pt x="28" y="7"/>
                  </a:cubicBezTo>
                  <a:cubicBezTo>
                    <a:pt x="21" y="5"/>
                    <a:pt x="13" y="4"/>
                    <a:pt x="8" y="3"/>
                  </a:cubicBezTo>
                  <a:cubicBezTo>
                    <a:pt x="3" y="2"/>
                    <a:pt x="0" y="1"/>
                    <a:pt x="0" y="1"/>
                  </a:cubicBezTo>
                  <a:cubicBezTo>
                    <a:pt x="0" y="0"/>
                    <a:pt x="3" y="1"/>
                    <a:pt x="8" y="1"/>
                  </a:cubicBezTo>
                  <a:cubicBezTo>
                    <a:pt x="14" y="2"/>
                    <a:pt x="21" y="3"/>
                    <a:pt x="29" y="5"/>
                  </a:cubicBezTo>
                  <a:cubicBezTo>
                    <a:pt x="37" y="7"/>
                    <a:pt x="44" y="10"/>
                    <a:pt x="49" y="12"/>
                  </a:cubicBezTo>
                  <a:cubicBezTo>
                    <a:pt x="54" y="14"/>
                    <a:pt x="57" y="15"/>
                    <a:pt x="57" y="15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Freeform 292">
              <a:extLst>
                <a:ext uri="{FF2B5EF4-FFF2-40B4-BE49-F238E27FC236}">
                  <a16:creationId xmlns:a16="http://schemas.microsoft.com/office/drawing/2014/main" id="{5D579A91-DF6A-A692-6C47-9A59E92A2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" y="2328"/>
              <a:ext cx="132" cy="34"/>
            </a:xfrm>
            <a:custGeom>
              <a:avLst/>
              <a:gdLst>
                <a:gd name="T0" fmla="*/ 80 w 80"/>
                <a:gd name="T1" fmla="*/ 21 h 21"/>
                <a:gd name="T2" fmla="*/ 69 w 80"/>
                <a:gd name="T3" fmla="*/ 17 h 21"/>
                <a:gd name="T4" fmla="*/ 40 w 80"/>
                <a:gd name="T5" fmla="*/ 8 h 21"/>
                <a:gd name="T6" fmla="*/ 12 w 80"/>
                <a:gd name="T7" fmla="*/ 1 h 21"/>
                <a:gd name="T8" fmla="*/ 0 w 80"/>
                <a:gd name="T9" fmla="*/ 2 h 21"/>
                <a:gd name="T10" fmla="*/ 3 w 80"/>
                <a:gd name="T11" fmla="*/ 1 h 21"/>
                <a:gd name="T12" fmla="*/ 12 w 80"/>
                <a:gd name="T13" fmla="*/ 0 h 21"/>
                <a:gd name="T14" fmla="*/ 41 w 80"/>
                <a:gd name="T15" fmla="*/ 7 h 21"/>
                <a:gd name="T16" fmla="*/ 69 w 80"/>
                <a:gd name="T17" fmla="*/ 16 h 21"/>
                <a:gd name="T18" fmla="*/ 77 w 80"/>
                <a:gd name="T19" fmla="*/ 19 h 21"/>
                <a:gd name="T20" fmla="*/ 80 w 80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21">
                  <a:moveTo>
                    <a:pt x="80" y="21"/>
                  </a:moveTo>
                  <a:cubicBezTo>
                    <a:pt x="80" y="21"/>
                    <a:pt x="76" y="19"/>
                    <a:pt x="69" y="17"/>
                  </a:cubicBezTo>
                  <a:cubicBezTo>
                    <a:pt x="61" y="14"/>
                    <a:pt x="52" y="11"/>
                    <a:pt x="40" y="8"/>
                  </a:cubicBezTo>
                  <a:cubicBezTo>
                    <a:pt x="29" y="5"/>
                    <a:pt x="19" y="2"/>
                    <a:pt x="12" y="1"/>
                  </a:cubicBezTo>
                  <a:cubicBezTo>
                    <a:pt x="4" y="1"/>
                    <a:pt x="0" y="2"/>
                    <a:pt x="0" y="2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5" y="0"/>
                    <a:pt x="8" y="0"/>
                    <a:pt x="12" y="0"/>
                  </a:cubicBezTo>
                  <a:cubicBezTo>
                    <a:pt x="20" y="0"/>
                    <a:pt x="30" y="3"/>
                    <a:pt x="41" y="7"/>
                  </a:cubicBezTo>
                  <a:cubicBezTo>
                    <a:pt x="52" y="10"/>
                    <a:pt x="62" y="13"/>
                    <a:pt x="69" y="16"/>
                  </a:cubicBezTo>
                  <a:cubicBezTo>
                    <a:pt x="73" y="17"/>
                    <a:pt x="75" y="18"/>
                    <a:pt x="77" y="19"/>
                  </a:cubicBezTo>
                  <a:cubicBezTo>
                    <a:pt x="79" y="20"/>
                    <a:pt x="80" y="20"/>
                    <a:pt x="80" y="2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Freeform 293">
              <a:extLst>
                <a:ext uri="{FF2B5EF4-FFF2-40B4-BE49-F238E27FC236}">
                  <a16:creationId xmlns:a16="http://schemas.microsoft.com/office/drawing/2014/main" id="{EE34AA86-E09E-675E-6673-7476B8FB9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7" y="1873"/>
              <a:ext cx="319" cy="514"/>
            </a:xfrm>
            <a:custGeom>
              <a:avLst/>
              <a:gdLst>
                <a:gd name="T0" fmla="*/ 77 w 194"/>
                <a:gd name="T1" fmla="*/ 0 h 312"/>
                <a:gd name="T2" fmla="*/ 49 w 194"/>
                <a:gd name="T3" fmla="*/ 50 h 312"/>
                <a:gd name="T4" fmla="*/ 8 w 194"/>
                <a:gd name="T5" fmla="*/ 266 h 312"/>
                <a:gd name="T6" fmla="*/ 176 w 194"/>
                <a:gd name="T7" fmla="*/ 312 h 312"/>
                <a:gd name="T8" fmla="*/ 194 w 194"/>
                <a:gd name="T9" fmla="*/ 232 h 312"/>
                <a:gd name="T10" fmla="*/ 114 w 194"/>
                <a:gd name="T11" fmla="*/ 210 h 312"/>
                <a:gd name="T12" fmla="*/ 116 w 194"/>
                <a:gd name="T13" fmla="*/ 106 h 312"/>
                <a:gd name="T14" fmla="*/ 77 w 194"/>
                <a:gd name="T1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312">
                  <a:moveTo>
                    <a:pt x="77" y="0"/>
                  </a:moveTo>
                  <a:cubicBezTo>
                    <a:pt x="77" y="0"/>
                    <a:pt x="58" y="12"/>
                    <a:pt x="49" y="50"/>
                  </a:cubicBezTo>
                  <a:cubicBezTo>
                    <a:pt x="40" y="88"/>
                    <a:pt x="0" y="243"/>
                    <a:pt x="8" y="266"/>
                  </a:cubicBezTo>
                  <a:cubicBezTo>
                    <a:pt x="16" y="289"/>
                    <a:pt x="176" y="312"/>
                    <a:pt x="176" y="312"/>
                  </a:cubicBezTo>
                  <a:cubicBezTo>
                    <a:pt x="194" y="232"/>
                    <a:pt x="194" y="232"/>
                    <a:pt x="194" y="232"/>
                  </a:cubicBezTo>
                  <a:cubicBezTo>
                    <a:pt x="114" y="210"/>
                    <a:pt x="114" y="210"/>
                    <a:pt x="114" y="210"/>
                  </a:cubicBezTo>
                  <a:cubicBezTo>
                    <a:pt x="114" y="210"/>
                    <a:pt x="115" y="136"/>
                    <a:pt x="116" y="106"/>
                  </a:cubicBezTo>
                  <a:cubicBezTo>
                    <a:pt x="117" y="75"/>
                    <a:pt x="77" y="0"/>
                    <a:pt x="77" y="0"/>
                  </a:cubicBezTo>
                  <a:close/>
                </a:path>
              </a:pathLst>
            </a:custGeom>
            <a:solidFill>
              <a:srgbClr val="54EE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Freeform 294">
              <a:extLst>
                <a:ext uri="{FF2B5EF4-FFF2-40B4-BE49-F238E27FC236}">
                  <a16:creationId xmlns:a16="http://schemas.microsoft.com/office/drawing/2014/main" id="{94CD7154-7547-22B4-BC78-E79F81635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" y="2275"/>
              <a:ext cx="67" cy="111"/>
            </a:xfrm>
            <a:custGeom>
              <a:avLst/>
              <a:gdLst>
                <a:gd name="T0" fmla="*/ 25 w 67"/>
                <a:gd name="T1" fmla="*/ 0 h 111"/>
                <a:gd name="T2" fmla="*/ 67 w 67"/>
                <a:gd name="T3" fmla="*/ 10 h 111"/>
                <a:gd name="T4" fmla="*/ 43 w 67"/>
                <a:gd name="T5" fmla="*/ 111 h 111"/>
                <a:gd name="T6" fmla="*/ 0 w 67"/>
                <a:gd name="T7" fmla="*/ 102 h 111"/>
                <a:gd name="T8" fmla="*/ 25 w 67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111">
                  <a:moveTo>
                    <a:pt x="25" y="0"/>
                  </a:moveTo>
                  <a:lnTo>
                    <a:pt x="67" y="10"/>
                  </a:lnTo>
                  <a:lnTo>
                    <a:pt x="43" y="111"/>
                  </a:lnTo>
                  <a:lnTo>
                    <a:pt x="0" y="102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Freeform 295">
              <a:extLst>
                <a:ext uri="{FF2B5EF4-FFF2-40B4-BE49-F238E27FC236}">
                  <a16:creationId xmlns:a16="http://schemas.microsoft.com/office/drawing/2014/main" id="{16EB3161-B655-E165-4BCD-E6262911B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" y="2219"/>
              <a:ext cx="310" cy="171"/>
            </a:xfrm>
            <a:custGeom>
              <a:avLst/>
              <a:gdLst>
                <a:gd name="T0" fmla="*/ 1 w 188"/>
                <a:gd name="T1" fmla="*/ 48 h 104"/>
                <a:gd name="T2" fmla="*/ 1 w 188"/>
                <a:gd name="T3" fmla="*/ 51 h 104"/>
                <a:gd name="T4" fmla="*/ 7 w 188"/>
                <a:gd name="T5" fmla="*/ 60 h 104"/>
                <a:gd name="T6" fmla="*/ 43 w 188"/>
                <a:gd name="T7" fmla="*/ 75 h 104"/>
                <a:gd name="T8" fmla="*/ 43 w 188"/>
                <a:gd name="T9" fmla="*/ 75 h 104"/>
                <a:gd name="T10" fmla="*/ 44 w 188"/>
                <a:gd name="T11" fmla="*/ 75 h 104"/>
                <a:gd name="T12" fmla="*/ 69 w 188"/>
                <a:gd name="T13" fmla="*/ 82 h 104"/>
                <a:gd name="T14" fmla="*/ 99 w 188"/>
                <a:gd name="T15" fmla="*/ 88 h 104"/>
                <a:gd name="T16" fmla="*/ 169 w 188"/>
                <a:gd name="T17" fmla="*/ 102 h 104"/>
                <a:gd name="T18" fmla="*/ 168 w 188"/>
                <a:gd name="T19" fmla="*/ 103 h 104"/>
                <a:gd name="T20" fmla="*/ 173 w 188"/>
                <a:gd name="T21" fmla="*/ 79 h 104"/>
                <a:gd name="T22" fmla="*/ 186 w 188"/>
                <a:gd name="T23" fmla="*/ 27 h 104"/>
                <a:gd name="T24" fmla="*/ 187 w 188"/>
                <a:gd name="T25" fmla="*/ 28 h 104"/>
                <a:gd name="T26" fmla="*/ 115 w 188"/>
                <a:gd name="T27" fmla="*/ 7 h 104"/>
                <a:gd name="T28" fmla="*/ 115 w 188"/>
                <a:gd name="T29" fmla="*/ 7 h 104"/>
                <a:gd name="T30" fmla="*/ 115 w 188"/>
                <a:gd name="T31" fmla="*/ 7 h 104"/>
                <a:gd name="T32" fmla="*/ 83 w 188"/>
                <a:gd name="T33" fmla="*/ 2 h 104"/>
                <a:gd name="T34" fmla="*/ 60 w 188"/>
                <a:gd name="T35" fmla="*/ 7 h 104"/>
                <a:gd name="T36" fmla="*/ 46 w 188"/>
                <a:gd name="T37" fmla="*/ 15 h 104"/>
                <a:gd name="T38" fmla="*/ 43 w 188"/>
                <a:gd name="T39" fmla="*/ 17 h 104"/>
                <a:gd name="T40" fmla="*/ 42 w 188"/>
                <a:gd name="T41" fmla="*/ 18 h 104"/>
                <a:gd name="T42" fmla="*/ 43 w 188"/>
                <a:gd name="T43" fmla="*/ 17 h 104"/>
                <a:gd name="T44" fmla="*/ 46 w 188"/>
                <a:gd name="T45" fmla="*/ 15 h 104"/>
                <a:gd name="T46" fmla="*/ 59 w 188"/>
                <a:gd name="T47" fmla="*/ 7 h 104"/>
                <a:gd name="T48" fmla="*/ 83 w 188"/>
                <a:gd name="T49" fmla="*/ 1 h 104"/>
                <a:gd name="T50" fmla="*/ 115 w 188"/>
                <a:gd name="T51" fmla="*/ 6 h 104"/>
                <a:gd name="T52" fmla="*/ 115 w 188"/>
                <a:gd name="T53" fmla="*/ 6 h 104"/>
                <a:gd name="T54" fmla="*/ 187 w 188"/>
                <a:gd name="T55" fmla="*/ 26 h 104"/>
                <a:gd name="T56" fmla="*/ 188 w 188"/>
                <a:gd name="T57" fmla="*/ 26 h 104"/>
                <a:gd name="T58" fmla="*/ 188 w 188"/>
                <a:gd name="T59" fmla="*/ 27 h 104"/>
                <a:gd name="T60" fmla="*/ 175 w 188"/>
                <a:gd name="T61" fmla="*/ 80 h 104"/>
                <a:gd name="T62" fmla="*/ 169 w 188"/>
                <a:gd name="T63" fmla="*/ 103 h 104"/>
                <a:gd name="T64" fmla="*/ 169 w 188"/>
                <a:gd name="T65" fmla="*/ 104 h 104"/>
                <a:gd name="T66" fmla="*/ 168 w 188"/>
                <a:gd name="T67" fmla="*/ 104 h 104"/>
                <a:gd name="T68" fmla="*/ 99 w 188"/>
                <a:gd name="T69" fmla="*/ 90 h 104"/>
                <a:gd name="T70" fmla="*/ 69 w 188"/>
                <a:gd name="T71" fmla="*/ 83 h 104"/>
                <a:gd name="T72" fmla="*/ 43 w 188"/>
                <a:gd name="T73" fmla="*/ 77 h 104"/>
                <a:gd name="T74" fmla="*/ 43 w 188"/>
                <a:gd name="T75" fmla="*/ 77 h 104"/>
                <a:gd name="T76" fmla="*/ 6 w 188"/>
                <a:gd name="T77" fmla="*/ 61 h 104"/>
                <a:gd name="T78" fmla="*/ 1 w 188"/>
                <a:gd name="T79" fmla="*/ 51 h 104"/>
                <a:gd name="T80" fmla="*/ 1 w 188"/>
                <a:gd name="T81" fmla="*/ 4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8" h="104">
                  <a:moveTo>
                    <a:pt x="1" y="48"/>
                  </a:moveTo>
                  <a:cubicBezTo>
                    <a:pt x="1" y="48"/>
                    <a:pt x="1" y="49"/>
                    <a:pt x="1" y="51"/>
                  </a:cubicBezTo>
                  <a:cubicBezTo>
                    <a:pt x="2" y="54"/>
                    <a:pt x="3" y="57"/>
                    <a:pt x="7" y="60"/>
                  </a:cubicBezTo>
                  <a:cubicBezTo>
                    <a:pt x="13" y="67"/>
                    <a:pt x="27" y="72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51" y="78"/>
                    <a:pt x="60" y="80"/>
                    <a:pt x="69" y="82"/>
                  </a:cubicBezTo>
                  <a:cubicBezTo>
                    <a:pt x="79" y="84"/>
                    <a:pt x="89" y="86"/>
                    <a:pt x="99" y="88"/>
                  </a:cubicBezTo>
                  <a:cubicBezTo>
                    <a:pt x="120" y="93"/>
                    <a:pt x="144" y="97"/>
                    <a:pt x="169" y="102"/>
                  </a:cubicBezTo>
                  <a:cubicBezTo>
                    <a:pt x="168" y="103"/>
                    <a:pt x="168" y="103"/>
                    <a:pt x="168" y="103"/>
                  </a:cubicBezTo>
                  <a:cubicBezTo>
                    <a:pt x="169" y="95"/>
                    <a:pt x="171" y="87"/>
                    <a:pt x="173" y="79"/>
                  </a:cubicBezTo>
                  <a:cubicBezTo>
                    <a:pt x="178" y="61"/>
                    <a:pt x="182" y="44"/>
                    <a:pt x="186" y="27"/>
                  </a:cubicBezTo>
                  <a:cubicBezTo>
                    <a:pt x="187" y="28"/>
                    <a:pt x="187" y="28"/>
                    <a:pt x="187" y="28"/>
                  </a:cubicBezTo>
                  <a:cubicBezTo>
                    <a:pt x="160" y="20"/>
                    <a:pt x="136" y="13"/>
                    <a:pt x="115" y="7"/>
                  </a:cubicBezTo>
                  <a:cubicBezTo>
                    <a:pt x="115" y="7"/>
                    <a:pt x="115" y="7"/>
                    <a:pt x="115" y="7"/>
                  </a:cubicBezTo>
                  <a:cubicBezTo>
                    <a:pt x="115" y="7"/>
                    <a:pt x="115" y="7"/>
                    <a:pt x="115" y="7"/>
                  </a:cubicBezTo>
                  <a:cubicBezTo>
                    <a:pt x="104" y="3"/>
                    <a:pt x="93" y="1"/>
                    <a:pt x="83" y="2"/>
                  </a:cubicBezTo>
                  <a:cubicBezTo>
                    <a:pt x="74" y="2"/>
                    <a:pt x="66" y="5"/>
                    <a:pt x="60" y="7"/>
                  </a:cubicBezTo>
                  <a:cubicBezTo>
                    <a:pt x="54" y="10"/>
                    <a:pt x="49" y="13"/>
                    <a:pt x="46" y="15"/>
                  </a:cubicBezTo>
                  <a:cubicBezTo>
                    <a:pt x="45" y="16"/>
                    <a:pt x="44" y="17"/>
                    <a:pt x="43" y="17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3" y="17"/>
                  </a:cubicBezTo>
                  <a:cubicBezTo>
                    <a:pt x="44" y="17"/>
                    <a:pt x="45" y="16"/>
                    <a:pt x="46" y="15"/>
                  </a:cubicBezTo>
                  <a:cubicBezTo>
                    <a:pt x="49" y="12"/>
                    <a:pt x="53" y="9"/>
                    <a:pt x="59" y="7"/>
                  </a:cubicBezTo>
                  <a:cubicBezTo>
                    <a:pt x="66" y="4"/>
                    <a:pt x="74" y="1"/>
                    <a:pt x="83" y="1"/>
                  </a:cubicBezTo>
                  <a:cubicBezTo>
                    <a:pt x="93" y="0"/>
                    <a:pt x="104" y="1"/>
                    <a:pt x="115" y="6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36" y="12"/>
                    <a:pt x="160" y="19"/>
                    <a:pt x="187" y="26"/>
                  </a:cubicBezTo>
                  <a:cubicBezTo>
                    <a:pt x="188" y="26"/>
                    <a:pt x="188" y="26"/>
                    <a:pt x="188" y="2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4" y="44"/>
                    <a:pt x="179" y="62"/>
                    <a:pt x="175" y="80"/>
                  </a:cubicBezTo>
                  <a:cubicBezTo>
                    <a:pt x="173" y="88"/>
                    <a:pt x="171" y="96"/>
                    <a:pt x="169" y="103"/>
                  </a:cubicBezTo>
                  <a:cubicBezTo>
                    <a:pt x="169" y="104"/>
                    <a:pt x="169" y="104"/>
                    <a:pt x="169" y="104"/>
                  </a:cubicBezTo>
                  <a:cubicBezTo>
                    <a:pt x="168" y="104"/>
                    <a:pt x="168" y="104"/>
                    <a:pt x="168" y="104"/>
                  </a:cubicBezTo>
                  <a:cubicBezTo>
                    <a:pt x="143" y="99"/>
                    <a:pt x="120" y="94"/>
                    <a:pt x="99" y="90"/>
                  </a:cubicBezTo>
                  <a:cubicBezTo>
                    <a:pt x="88" y="88"/>
                    <a:pt x="78" y="86"/>
                    <a:pt x="69" y="83"/>
                  </a:cubicBezTo>
                  <a:cubicBezTo>
                    <a:pt x="60" y="81"/>
                    <a:pt x="51" y="79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26" y="73"/>
                    <a:pt x="13" y="68"/>
                    <a:pt x="6" y="61"/>
                  </a:cubicBezTo>
                  <a:cubicBezTo>
                    <a:pt x="3" y="58"/>
                    <a:pt x="1" y="54"/>
                    <a:pt x="1" y="51"/>
                  </a:cubicBezTo>
                  <a:cubicBezTo>
                    <a:pt x="0" y="49"/>
                    <a:pt x="1" y="48"/>
                    <a:pt x="1" y="4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Freeform 296">
              <a:extLst>
                <a:ext uri="{FF2B5EF4-FFF2-40B4-BE49-F238E27FC236}">
                  <a16:creationId xmlns:a16="http://schemas.microsoft.com/office/drawing/2014/main" id="{D20A3243-045C-DAB1-3F3A-839AEF1C1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2" y="2194"/>
              <a:ext cx="99" cy="35"/>
            </a:xfrm>
            <a:custGeom>
              <a:avLst/>
              <a:gdLst>
                <a:gd name="T0" fmla="*/ 60 w 60"/>
                <a:gd name="T1" fmla="*/ 20 h 21"/>
                <a:gd name="T2" fmla="*/ 52 w 60"/>
                <a:gd name="T3" fmla="*/ 15 h 21"/>
                <a:gd name="T4" fmla="*/ 32 w 60"/>
                <a:gd name="T5" fmla="*/ 5 h 21"/>
                <a:gd name="T6" fmla="*/ 9 w 60"/>
                <a:gd name="T7" fmla="*/ 2 h 21"/>
                <a:gd name="T8" fmla="*/ 0 w 60"/>
                <a:gd name="T9" fmla="*/ 3 h 21"/>
                <a:gd name="T10" fmla="*/ 9 w 60"/>
                <a:gd name="T11" fmla="*/ 1 h 21"/>
                <a:gd name="T12" fmla="*/ 32 w 60"/>
                <a:gd name="T13" fmla="*/ 3 h 21"/>
                <a:gd name="T14" fmla="*/ 53 w 60"/>
                <a:gd name="T15" fmla="*/ 14 h 21"/>
                <a:gd name="T16" fmla="*/ 60 w 60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1">
                  <a:moveTo>
                    <a:pt x="60" y="20"/>
                  </a:moveTo>
                  <a:cubicBezTo>
                    <a:pt x="60" y="21"/>
                    <a:pt x="57" y="18"/>
                    <a:pt x="52" y="15"/>
                  </a:cubicBezTo>
                  <a:cubicBezTo>
                    <a:pt x="47" y="12"/>
                    <a:pt x="40" y="8"/>
                    <a:pt x="32" y="5"/>
                  </a:cubicBezTo>
                  <a:cubicBezTo>
                    <a:pt x="23" y="3"/>
                    <a:pt x="15" y="2"/>
                    <a:pt x="9" y="2"/>
                  </a:cubicBezTo>
                  <a:cubicBezTo>
                    <a:pt x="3" y="2"/>
                    <a:pt x="0" y="3"/>
                    <a:pt x="0" y="3"/>
                  </a:cubicBezTo>
                  <a:cubicBezTo>
                    <a:pt x="0" y="3"/>
                    <a:pt x="3" y="1"/>
                    <a:pt x="9" y="1"/>
                  </a:cubicBezTo>
                  <a:cubicBezTo>
                    <a:pt x="15" y="0"/>
                    <a:pt x="23" y="1"/>
                    <a:pt x="32" y="3"/>
                  </a:cubicBezTo>
                  <a:cubicBezTo>
                    <a:pt x="41" y="6"/>
                    <a:pt x="48" y="10"/>
                    <a:pt x="53" y="14"/>
                  </a:cubicBezTo>
                  <a:cubicBezTo>
                    <a:pt x="58" y="17"/>
                    <a:pt x="60" y="20"/>
                    <a:pt x="60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Freeform 297">
              <a:extLst>
                <a:ext uri="{FF2B5EF4-FFF2-40B4-BE49-F238E27FC236}">
                  <a16:creationId xmlns:a16="http://schemas.microsoft.com/office/drawing/2014/main" id="{0B0E834E-AC96-7849-DE2C-0FE557C4C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0" y="2015"/>
              <a:ext cx="39" cy="198"/>
            </a:xfrm>
            <a:custGeom>
              <a:avLst/>
              <a:gdLst>
                <a:gd name="T0" fmla="*/ 24 w 24"/>
                <a:gd name="T1" fmla="*/ 0 h 120"/>
                <a:gd name="T2" fmla="*/ 24 w 24"/>
                <a:gd name="T3" fmla="*/ 5 h 120"/>
                <a:gd name="T4" fmla="*/ 23 w 24"/>
                <a:gd name="T5" fmla="*/ 18 h 120"/>
                <a:gd name="T6" fmla="*/ 17 w 24"/>
                <a:gd name="T7" fmla="*/ 61 h 120"/>
                <a:gd name="T8" fmla="*/ 7 w 24"/>
                <a:gd name="T9" fmla="*/ 103 h 120"/>
                <a:gd name="T10" fmla="*/ 5 w 24"/>
                <a:gd name="T11" fmla="*/ 111 h 120"/>
                <a:gd name="T12" fmla="*/ 2 w 24"/>
                <a:gd name="T13" fmla="*/ 116 h 120"/>
                <a:gd name="T14" fmla="*/ 0 w 24"/>
                <a:gd name="T15" fmla="*/ 120 h 120"/>
                <a:gd name="T16" fmla="*/ 2 w 24"/>
                <a:gd name="T17" fmla="*/ 115 h 120"/>
                <a:gd name="T18" fmla="*/ 4 w 24"/>
                <a:gd name="T19" fmla="*/ 110 h 120"/>
                <a:gd name="T20" fmla="*/ 6 w 24"/>
                <a:gd name="T21" fmla="*/ 103 h 120"/>
                <a:gd name="T22" fmla="*/ 16 w 24"/>
                <a:gd name="T23" fmla="*/ 61 h 120"/>
                <a:gd name="T24" fmla="*/ 22 w 24"/>
                <a:gd name="T25" fmla="*/ 18 h 120"/>
                <a:gd name="T26" fmla="*/ 23 w 24"/>
                <a:gd name="T27" fmla="*/ 4 h 120"/>
                <a:gd name="T28" fmla="*/ 24 w 24"/>
                <a:gd name="T2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20">
                  <a:moveTo>
                    <a:pt x="24" y="0"/>
                  </a:moveTo>
                  <a:cubicBezTo>
                    <a:pt x="24" y="0"/>
                    <a:pt x="24" y="1"/>
                    <a:pt x="24" y="5"/>
                  </a:cubicBezTo>
                  <a:cubicBezTo>
                    <a:pt x="24" y="8"/>
                    <a:pt x="23" y="12"/>
                    <a:pt x="23" y="18"/>
                  </a:cubicBezTo>
                  <a:cubicBezTo>
                    <a:pt x="22" y="29"/>
                    <a:pt x="20" y="44"/>
                    <a:pt x="17" y="61"/>
                  </a:cubicBezTo>
                  <a:cubicBezTo>
                    <a:pt x="15" y="78"/>
                    <a:pt x="11" y="93"/>
                    <a:pt x="7" y="103"/>
                  </a:cubicBezTo>
                  <a:cubicBezTo>
                    <a:pt x="6" y="106"/>
                    <a:pt x="6" y="108"/>
                    <a:pt x="5" y="111"/>
                  </a:cubicBezTo>
                  <a:cubicBezTo>
                    <a:pt x="4" y="112"/>
                    <a:pt x="3" y="114"/>
                    <a:pt x="2" y="116"/>
                  </a:cubicBezTo>
                  <a:cubicBezTo>
                    <a:pt x="1" y="119"/>
                    <a:pt x="0" y="120"/>
                    <a:pt x="0" y="120"/>
                  </a:cubicBezTo>
                  <a:cubicBezTo>
                    <a:pt x="0" y="120"/>
                    <a:pt x="1" y="118"/>
                    <a:pt x="2" y="115"/>
                  </a:cubicBezTo>
                  <a:cubicBezTo>
                    <a:pt x="2" y="114"/>
                    <a:pt x="3" y="112"/>
                    <a:pt x="4" y="110"/>
                  </a:cubicBezTo>
                  <a:cubicBezTo>
                    <a:pt x="4" y="108"/>
                    <a:pt x="5" y="106"/>
                    <a:pt x="6" y="103"/>
                  </a:cubicBezTo>
                  <a:cubicBezTo>
                    <a:pt x="9" y="92"/>
                    <a:pt x="13" y="77"/>
                    <a:pt x="16" y="61"/>
                  </a:cubicBezTo>
                  <a:cubicBezTo>
                    <a:pt x="18" y="44"/>
                    <a:pt x="20" y="29"/>
                    <a:pt x="22" y="18"/>
                  </a:cubicBezTo>
                  <a:cubicBezTo>
                    <a:pt x="22" y="12"/>
                    <a:pt x="23" y="8"/>
                    <a:pt x="23" y="4"/>
                  </a:cubicBezTo>
                  <a:cubicBezTo>
                    <a:pt x="23" y="1"/>
                    <a:pt x="23" y="0"/>
                    <a:pt x="2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Freeform 298">
              <a:extLst>
                <a:ext uri="{FF2B5EF4-FFF2-40B4-BE49-F238E27FC236}">
                  <a16:creationId xmlns:a16="http://schemas.microsoft.com/office/drawing/2014/main" id="{4951F52C-CB78-E19C-024A-435875CE0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8" y="1801"/>
              <a:ext cx="83" cy="151"/>
            </a:xfrm>
            <a:custGeom>
              <a:avLst/>
              <a:gdLst>
                <a:gd name="T0" fmla="*/ 50 w 50"/>
                <a:gd name="T1" fmla="*/ 89 h 92"/>
                <a:gd name="T2" fmla="*/ 49 w 50"/>
                <a:gd name="T3" fmla="*/ 86 h 92"/>
                <a:gd name="T4" fmla="*/ 43 w 50"/>
                <a:gd name="T5" fmla="*/ 81 h 92"/>
                <a:gd name="T6" fmla="*/ 31 w 50"/>
                <a:gd name="T7" fmla="*/ 79 h 92"/>
                <a:gd name="T8" fmla="*/ 21 w 50"/>
                <a:gd name="T9" fmla="*/ 90 h 92"/>
                <a:gd name="T10" fmla="*/ 21 w 50"/>
                <a:gd name="T11" fmla="*/ 92 h 92"/>
                <a:gd name="T12" fmla="*/ 20 w 50"/>
                <a:gd name="T13" fmla="*/ 90 h 92"/>
                <a:gd name="T14" fmla="*/ 9 w 50"/>
                <a:gd name="T15" fmla="*/ 64 h 92"/>
                <a:gd name="T16" fmla="*/ 1 w 50"/>
                <a:gd name="T17" fmla="*/ 19 h 92"/>
                <a:gd name="T18" fmla="*/ 1 w 50"/>
                <a:gd name="T19" fmla="*/ 11 h 92"/>
                <a:gd name="T20" fmla="*/ 2 w 50"/>
                <a:gd name="T21" fmla="*/ 5 h 92"/>
                <a:gd name="T22" fmla="*/ 4 w 50"/>
                <a:gd name="T23" fmla="*/ 0 h 92"/>
                <a:gd name="T24" fmla="*/ 2 w 50"/>
                <a:gd name="T25" fmla="*/ 19 h 92"/>
                <a:gd name="T26" fmla="*/ 11 w 50"/>
                <a:gd name="T27" fmla="*/ 64 h 92"/>
                <a:gd name="T28" fmla="*/ 21 w 50"/>
                <a:gd name="T29" fmla="*/ 89 h 92"/>
                <a:gd name="T30" fmla="*/ 20 w 50"/>
                <a:gd name="T31" fmla="*/ 89 h 92"/>
                <a:gd name="T32" fmla="*/ 31 w 50"/>
                <a:gd name="T33" fmla="*/ 78 h 92"/>
                <a:gd name="T34" fmla="*/ 44 w 50"/>
                <a:gd name="T35" fmla="*/ 80 h 92"/>
                <a:gd name="T36" fmla="*/ 49 w 50"/>
                <a:gd name="T37" fmla="*/ 86 h 92"/>
                <a:gd name="T38" fmla="*/ 50 w 50"/>
                <a:gd name="T39" fmla="*/ 88 h 92"/>
                <a:gd name="T40" fmla="*/ 50 w 50"/>
                <a:gd name="T41" fmla="*/ 8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92">
                  <a:moveTo>
                    <a:pt x="50" y="89"/>
                  </a:moveTo>
                  <a:cubicBezTo>
                    <a:pt x="50" y="89"/>
                    <a:pt x="49" y="88"/>
                    <a:pt x="49" y="86"/>
                  </a:cubicBezTo>
                  <a:cubicBezTo>
                    <a:pt x="48" y="85"/>
                    <a:pt x="46" y="83"/>
                    <a:pt x="43" y="81"/>
                  </a:cubicBezTo>
                  <a:cubicBezTo>
                    <a:pt x="40" y="79"/>
                    <a:pt x="36" y="78"/>
                    <a:pt x="31" y="79"/>
                  </a:cubicBezTo>
                  <a:cubicBezTo>
                    <a:pt x="27" y="81"/>
                    <a:pt x="23" y="85"/>
                    <a:pt x="21" y="90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16" y="82"/>
                    <a:pt x="12" y="74"/>
                    <a:pt x="9" y="64"/>
                  </a:cubicBezTo>
                  <a:cubicBezTo>
                    <a:pt x="3" y="47"/>
                    <a:pt x="0" y="30"/>
                    <a:pt x="1" y="19"/>
                  </a:cubicBezTo>
                  <a:cubicBezTo>
                    <a:pt x="1" y="16"/>
                    <a:pt x="1" y="13"/>
                    <a:pt x="1" y="11"/>
                  </a:cubicBezTo>
                  <a:cubicBezTo>
                    <a:pt x="2" y="8"/>
                    <a:pt x="2" y="6"/>
                    <a:pt x="2" y="5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2" y="7"/>
                    <a:pt x="2" y="19"/>
                  </a:cubicBezTo>
                  <a:cubicBezTo>
                    <a:pt x="2" y="30"/>
                    <a:pt x="5" y="47"/>
                    <a:pt x="11" y="64"/>
                  </a:cubicBezTo>
                  <a:cubicBezTo>
                    <a:pt x="14" y="73"/>
                    <a:pt x="18" y="82"/>
                    <a:pt x="21" y="89"/>
                  </a:cubicBezTo>
                  <a:cubicBezTo>
                    <a:pt x="20" y="89"/>
                    <a:pt x="20" y="89"/>
                    <a:pt x="20" y="89"/>
                  </a:cubicBezTo>
                  <a:cubicBezTo>
                    <a:pt x="21" y="84"/>
                    <a:pt x="26" y="79"/>
                    <a:pt x="31" y="78"/>
                  </a:cubicBezTo>
                  <a:cubicBezTo>
                    <a:pt x="36" y="77"/>
                    <a:pt x="41" y="78"/>
                    <a:pt x="44" y="80"/>
                  </a:cubicBezTo>
                  <a:cubicBezTo>
                    <a:pt x="47" y="82"/>
                    <a:pt x="48" y="85"/>
                    <a:pt x="49" y="86"/>
                  </a:cubicBezTo>
                  <a:cubicBezTo>
                    <a:pt x="49" y="87"/>
                    <a:pt x="50" y="88"/>
                    <a:pt x="50" y="88"/>
                  </a:cubicBezTo>
                  <a:cubicBezTo>
                    <a:pt x="50" y="89"/>
                    <a:pt x="50" y="89"/>
                    <a:pt x="50" y="8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Freeform 299">
              <a:extLst>
                <a:ext uri="{FF2B5EF4-FFF2-40B4-BE49-F238E27FC236}">
                  <a16:creationId xmlns:a16="http://schemas.microsoft.com/office/drawing/2014/main" id="{DFC465A0-78F1-A2B7-47CE-CC0D63C29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" y="1794"/>
              <a:ext cx="55" cy="167"/>
            </a:xfrm>
            <a:custGeom>
              <a:avLst/>
              <a:gdLst>
                <a:gd name="T0" fmla="*/ 2 w 33"/>
                <a:gd name="T1" fmla="*/ 101 h 101"/>
                <a:gd name="T2" fmla="*/ 1 w 33"/>
                <a:gd name="T3" fmla="*/ 96 h 101"/>
                <a:gd name="T4" fmla="*/ 1 w 33"/>
                <a:gd name="T5" fmla="*/ 84 h 101"/>
                <a:gd name="T6" fmla="*/ 9 w 33"/>
                <a:gd name="T7" fmla="*/ 68 h 101"/>
                <a:gd name="T8" fmla="*/ 20 w 33"/>
                <a:gd name="T9" fmla="*/ 65 h 101"/>
                <a:gd name="T10" fmla="*/ 31 w 33"/>
                <a:gd name="T11" fmla="*/ 69 h 101"/>
                <a:gd name="T12" fmla="*/ 29 w 33"/>
                <a:gd name="T13" fmla="*/ 70 h 101"/>
                <a:gd name="T14" fmla="*/ 26 w 33"/>
                <a:gd name="T15" fmla="*/ 62 h 101"/>
                <a:gd name="T16" fmla="*/ 9 w 33"/>
                <a:gd name="T17" fmla="*/ 18 h 101"/>
                <a:gd name="T18" fmla="*/ 4 w 33"/>
                <a:gd name="T19" fmla="*/ 5 h 101"/>
                <a:gd name="T20" fmla="*/ 2 w 33"/>
                <a:gd name="T21" fmla="*/ 0 h 101"/>
                <a:gd name="T22" fmla="*/ 5 w 33"/>
                <a:gd name="T23" fmla="*/ 4 h 101"/>
                <a:gd name="T24" fmla="*/ 10 w 33"/>
                <a:gd name="T25" fmla="*/ 17 h 101"/>
                <a:gd name="T26" fmla="*/ 28 w 33"/>
                <a:gd name="T27" fmla="*/ 61 h 101"/>
                <a:gd name="T28" fmla="*/ 31 w 33"/>
                <a:gd name="T29" fmla="*/ 70 h 101"/>
                <a:gd name="T30" fmla="*/ 33 w 33"/>
                <a:gd name="T31" fmla="*/ 75 h 101"/>
                <a:gd name="T32" fmla="*/ 29 w 33"/>
                <a:gd name="T33" fmla="*/ 71 h 101"/>
                <a:gd name="T34" fmla="*/ 20 w 33"/>
                <a:gd name="T35" fmla="*/ 66 h 101"/>
                <a:gd name="T36" fmla="*/ 10 w 33"/>
                <a:gd name="T37" fmla="*/ 70 h 101"/>
                <a:gd name="T38" fmla="*/ 2 w 33"/>
                <a:gd name="T39" fmla="*/ 84 h 101"/>
                <a:gd name="T40" fmla="*/ 2 w 33"/>
                <a:gd name="T41" fmla="*/ 96 h 101"/>
                <a:gd name="T42" fmla="*/ 2 w 33"/>
                <a:gd name="T4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101">
                  <a:moveTo>
                    <a:pt x="2" y="101"/>
                  </a:moveTo>
                  <a:cubicBezTo>
                    <a:pt x="2" y="101"/>
                    <a:pt x="2" y="99"/>
                    <a:pt x="1" y="96"/>
                  </a:cubicBezTo>
                  <a:cubicBezTo>
                    <a:pt x="1" y="94"/>
                    <a:pt x="0" y="90"/>
                    <a:pt x="1" y="84"/>
                  </a:cubicBezTo>
                  <a:cubicBezTo>
                    <a:pt x="1" y="79"/>
                    <a:pt x="4" y="73"/>
                    <a:pt x="9" y="68"/>
                  </a:cubicBezTo>
                  <a:cubicBezTo>
                    <a:pt x="12" y="66"/>
                    <a:pt x="16" y="64"/>
                    <a:pt x="20" y="65"/>
                  </a:cubicBezTo>
                  <a:cubicBezTo>
                    <a:pt x="24" y="64"/>
                    <a:pt x="28" y="66"/>
                    <a:pt x="31" y="69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8" y="68"/>
                    <a:pt x="27" y="65"/>
                    <a:pt x="26" y="62"/>
                  </a:cubicBezTo>
                  <a:cubicBezTo>
                    <a:pt x="19" y="45"/>
                    <a:pt x="13" y="29"/>
                    <a:pt x="9" y="18"/>
                  </a:cubicBezTo>
                  <a:cubicBezTo>
                    <a:pt x="7" y="13"/>
                    <a:pt x="5" y="8"/>
                    <a:pt x="4" y="5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3" y="1"/>
                    <a:pt x="5" y="4"/>
                  </a:cubicBezTo>
                  <a:cubicBezTo>
                    <a:pt x="6" y="8"/>
                    <a:pt x="8" y="12"/>
                    <a:pt x="10" y="17"/>
                  </a:cubicBezTo>
                  <a:cubicBezTo>
                    <a:pt x="15" y="29"/>
                    <a:pt x="21" y="44"/>
                    <a:pt x="28" y="61"/>
                  </a:cubicBezTo>
                  <a:cubicBezTo>
                    <a:pt x="29" y="64"/>
                    <a:pt x="30" y="67"/>
                    <a:pt x="31" y="70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7" y="68"/>
                    <a:pt x="23" y="66"/>
                    <a:pt x="20" y="66"/>
                  </a:cubicBezTo>
                  <a:cubicBezTo>
                    <a:pt x="16" y="66"/>
                    <a:pt x="13" y="68"/>
                    <a:pt x="10" y="70"/>
                  </a:cubicBezTo>
                  <a:cubicBezTo>
                    <a:pt x="5" y="74"/>
                    <a:pt x="3" y="80"/>
                    <a:pt x="2" y="84"/>
                  </a:cubicBezTo>
                  <a:cubicBezTo>
                    <a:pt x="1" y="89"/>
                    <a:pt x="2" y="94"/>
                    <a:pt x="2" y="96"/>
                  </a:cubicBezTo>
                  <a:cubicBezTo>
                    <a:pt x="2" y="99"/>
                    <a:pt x="2" y="101"/>
                    <a:pt x="2" y="10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Freeform 300">
              <a:extLst>
                <a:ext uri="{FF2B5EF4-FFF2-40B4-BE49-F238E27FC236}">
                  <a16:creationId xmlns:a16="http://schemas.microsoft.com/office/drawing/2014/main" id="{03495E96-121B-5A5B-7937-251C63E0D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6" y="1975"/>
              <a:ext cx="59" cy="406"/>
            </a:xfrm>
            <a:custGeom>
              <a:avLst/>
              <a:gdLst>
                <a:gd name="T0" fmla="*/ 0 w 36"/>
                <a:gd name="T1" fmla="*/ 0 h 246"/>
                <a:gd name="T2" fmla="*/ 19 w 36"/>
                <a:gd name="T3" fmla="*/ 123 h 246"/>
                <a:gd name="T4" fmla="*/ 35 w 36"/>
                <a:gd name="T5" fmla="*/ 246 h 246"/>
                <a:gd name="T6" fmla="*/ 17 w 36"/>
                <a:gd name="T7" fmla="*/ 123 h 246"/>
                <a:gd name="T8" fmla="*/ 0 w 36"/>
                <a:gd name="T9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6">
                  <a:moveTo>
                    <a:pt x="0" y="0"/>
                  </a:moveTo>
                  <a:cubicBezTo>
                    <a:pt x="1" y="0"/>
                    <a:pt x="9" y="55"/>
                    <a:pt x="19" y="123"/>
                  </a:cubicBezTo>
                  <a:cubicBezTo>
                    <a:pt x="28" y="191"/>
                    <a:pt x="36" y="246"/>
                    <a:pt x="35" y="246"/>
                  </a:cubicBezTo>
                  <a:cubicBezTo>
                    <a:pt x="35" y="246"/>
                    <a:pt x="26" y="191"/>
                    <a:pt x="17" y="123"/>
                  </a:cubicBezTo>
                  <a:cubicBezTo>
                    <a:pt x="7" y="55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Freeform 301">
              <a:extLst>
                <a:ext uri="{FF2B5EF4-FFF2-40B4-BE49-F238E27FC236}">
                  <a16:creationId xmlns:a16="http://schemas.microsoft.com/office/drawing/2014/main" id="{924DD15C-797E-FB71-E24F-6EB6787FC2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5" y="1905"/>
              <a:ext cx="72" cy="66"/>
            </a:xfrm>
            <a:custGeom>
              <a:avLst/>
              <a:gdLst>
                <a:gd name="T0" fmla="*/ 23 w 44"/>
                <a:gd name="T1" fmla="*/ 14 h 40"/>
                <a:gd name="T2" fmla="*/ 23 w 44"/>
                <a:gd name="T3" fmla="*/ 14 h 40"/>
                <a:gd name="T4" fmla="*/ 11 w 44"/>
                <a:gd name="T5" fmla="*/ 24 h 40"/>
                <a:gd name="T6" fmla="*/ 21 w 44"/>
                <a:gd name="T7" fmla="*/ 15 h 40"/>
                <a:gd name="T8" fmla="*/ 25 w 44"/>
                <a:gd name="T9" fmla="*/ 15 h 40"/>
                <a:gd name="T10" fmla="*/ 27 w 44"/>
                <a:gd name="T11" fmla="*/ 15 h 40"/>
                <a:gd name="T12" fmla="*/ 23 w 44"/>
                <a:gd name="T13" fmla="*/ 14 h 40"/>
                <a:gd name="T14" fmla="*/ 0 w 44"/>
                <a:gd name="T15" fmla="*/ 5 h 40"/>
                <a:gd name="T16" fmla="*/ 9 w 44"/>
                <a:gd name="T17" fmla="*/ 40 h 40"/>
                <a:gd name="T18" fmla="*/ 23 w 44"/>
                <a:gd name="T19" fmla="*/ 29 h 40"/>
                <a:gd name="T20" fmla="*/ 27 w 44"/>
                <a:gd name="T21" fmla="*/ 28 h 40"/>
                <a:gd name="T22" fmla="*/ 44 w 44"/>
                <a:gd name="T23" fmla="*/ 37 h 40"/>
                <a:gd name="T24" fmla="*/ 40 w 44"/>
                <a:gd name="T25" fmla="*/ 26 h 40"/>
                <a:gd name="T26" fmla="*/ 40 w 44"/>
                <a:gd name="T27" fmla="*/ 26 h 40"/>
                <a:gd name="T28" fmla="*/ 40 w 44"/>
                <a:gd name="T29" fmla="*/ 26 h 40"/>
                <a:gd name="T30" fmla="*/ 39 w 44"/>
                <a:gd name="T31" fmla="*/ 25 h 40"/>
                <a:gd name="T32" fmla="*/ 37 w 44"/>
                <a:gd name="T33" fmla="*/ 22 h 40"/>
                <a:gd name="T34" fmla="*/ 35 w 44"/>
                <a:gd name="T35" fmla="*/ 19 h 40"/>
                <a:gd name="T36" fmla="*/ 33 w 44"/>
                <a:gd name="T37" fmla="*/ 18 h 40"/>
                <a:gd name="T38" fmla="*/ 25 w 44"/>
                <a:gd name="T39" fmla="*/ 16 h 40"/>
                <a:gd name="T40" fmla="*/ 21 w 44"/>
                <a:gd name="T41" fmla="*/ 16 h 40"/>
                <a:gd name="T42" fmla="*/ 11 w 44"/>
                <a:gd name="T43" fmla="*/ 27 h 40"/>
                <a:gd name="T44" fmla="*/ 11 w 44"/>
                <a:gd name="T45" fmla="*/ 29 h 40"/>
                <a:gd name="T46" fmla="*/ 10 w 44"/>
                <a:gd name="T47" fmla="*/ 27 h 40"/>
                <a:gd name="T48" fmla="*/ 0 w 44"/>
                <a:gd name="T49" fmla="*/ 5 h 40"/>
                <a:gd name="T50" fmla="*/ 0 w 44"/>
                <a:gd name="T51" fmla="*/ 0 h 40"/>
                <a:gd name="T52" fmla="*/ 1 w 44"/>
                <a:gd name="T53" fmla="*/ 1 h 40"/>
                <a:gd name="T54" fmla="*/ 10 w 44"/>
                <a:gd name="T55" fmla="*/ 24 h 40"/>
                <a:gd name="T56" fmla="*/ 11 w 44"/>
                <a:gd name="T57" fmla="*/ 24 h 40"/>
                <a:gd name="T58" fmla="*/ 0 w 44"/>
                <a:gd name="T59" fmla="*/ 0 h 40"/>
                <a:gd name="T60" fmla="*/ 0 w 44"/>
                <a:gd name="T6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4" h="40">
                  <a:moveTo>
                    <a:pt x="23" y="14"/>
                  </a:moveTo>
                  <a:cubicBezTo>
                    <a:pt x="23" y="14"/>
                    <a:pt x="23" y="14"/>
                    <a:pt x="23" y="14"/>
                  </a:cubicBezTo>
                  <a:cubicBezTo>
                    <a:pt x="17" y="14"/>
                    <a:pt x="12" y="18"/>
                    <a:pt x="11" y="24"/>
                  </a:cubicBezTo>
                  <a:cubicBezTo>
                    <a:pt x="13" y="19"/>
                    <a:pt x="17" y="16"/>
                    <a:pt x="21" y="15"/>
                  </a:cubicBezTo>
                  <a:cubicBezTo>
                    <a:pt x="22" y="15"/>
                    <a:pt x="24" y="15"/>
                    <a:pt x="25" y="15"/>
                  </a:cubicBezTo>
                  <a:cubicBezTo>
                    <a:pt x="26" y="15"/>
                    <a:pt x="26" y="15"/>
                    <a:pt x="27" y="15"/>
                  </a:cubicBezTo>
                  <a:cubicBezTo>
                    <a:pt x="26" y="14"/>
                    <a:pt x="25" y="14"/>
                    <a:pt x="23" y="14"/>
                  </a:cubicBezTo>
                  <a:moveTo>
                    <a:pt x="0" y="5"/>
                  </a:moveTo>
                  <a:cubicBezTo>
                    <a:pt x="1" y="17"/>
                    <a:pt x="4" y="29"/>
                    <a:pt x="9" y="40"/>
                  </a:cubicBezTo>
                  <a:cubicBezTo>
                    <a:pt x="13" y="35"/>
                    <a:pt x="17" y="30"/>
                    <a:pt x="23" y="29"/>
                  </a:cubicBezTo>
                  <a:cubicBezTo>
                    <a:pt x="24" y="29"/>
                    <a:pt x="25" y="28"/>
                    <a:pt x="27" y="28"/>
                  </a:cubicBezTo>
                  <a:cubicBezTo>
                    <a:pt x="33" y="28"/>
                    <a:pt x="39" y="32"/>
                    <a:pt x="44" y="37"/>
                  </a:cubicBezTo>
                  <a:cubicBezTo>
                    <a:pt x="43" y="33"/>
                    <a:pt x="42" y="29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39" y="25"/>
                  </a:cubicBezTo>
                  <a:cubicBezTo>
                    <a:pt x="39" y="24"/>
                    <a:pt x="38" y="23"/>
                    <a:pt x="37" y="22"/>
                  </a:cubicBezTo>
                  <a:cubicBezTo>
                    <a:pt x="36" y="21"/>
                    <a:pt x="36" y="20"/>
                    <a:pt x="35" y="19"/>
                  </a:cubicBezTo>
                  <a:cubicBezTo>
                    <a:pt x="34" y="19"/>
                    <a:pt x="34" y="18"/>
                    <a:pt x="33" y="18"/>
                  </a:cubicBezTo>
                  <a:cubicBezTo>
                    <a:pt x="31" y="17"/>
                    <a:pt x="28" y="16"/>
                    <a:pt x="25" y="16"/>
                  </a:cubicBezTo>
                  <a:cubicBezTo>
                    <a:pt x="24" y="16"/>
                    <a:pt x="23" y="16"/>
                    <a:pt x="21" y="16"/>
                  </a:cubicBezTo>
                  <a:cubicBezTo>
                    <a:pt x="17" y="18"/>
                    <a:pt x="13" y="22"/>
                    <a:pt x="11" y="27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7" y="20"/>
                    <a:pt x="3" y="13"/>
                    <a:pt x="0" y="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4" y="9"/>
                    <a:pt x="7" y="17"/>
                    <a:pt x="10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7E3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Freeform 302">
              <a:extLst>
                <a:ext uri="{FF2B5EF4-FFF2-40B4-BE49-F238E27FC236}">
                  <a16:creationId xmlns:a16="http://schemas.microsoft.com/office/drawing/2014/main" id="{E72572E1-0A0F-D4A0-6EED-220A0331D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5" y="1903"/>
              <a:ext cx="66" cy="49"/>
            </a:xfrm>
            <a:custGeom>
              <a:avLst/>
              <a:gdLst>
                <a:gd name="T0" fmla="*/ 39 w 40"/>
                <a:gd name="T1" fmla="*/ 26 h 30"/>
                <a:gd name="T2" fmla="*/ 40 w 40"/>
                <a:gd name="T3" fmla="*/ 27 h 30"/>
                <a:gd name="T4" fmla="*/ 40 w 40"/>
                <a:gd name="T5" fmla="*/ 27 h 30"/>
                <a:gd name="T6" fmla="*/ 40 w 40"/>
                <a:gd name="T7" fmla="*/ 27 h 30"/>
                <a:gd name="T8" fmla="*/ 39 w 40"/>
                <a:gd name="T9" fmla="*/ 26 h 30"/>
                <a:gd name="T10" fmla="*/ 0 w 40"/>
                <a:gd name="T11" fmla="*/ 0 h 30"/>
                <a:gd name="T12" fmla="*/ 0 w 40"/>
                <a:gd name="T13" fmla="*/ 6 h 30"/>
                <a:gd name="T14" fmla="*/ 10 w 40"/>
                <a:gd name="T15" fmla="*/ 28 h 30"/>
                <a:gd name="T16" fmla="*/ 11 w 40"/>
                <a:gd name="T17" fmla="*/ 30 h 30"/>
                <a:gd name="T18" fmla="*/ 11 w 40"/>
                <a:gd name="T19" fmla="*/ 28 h 30"/>
                <a:gd name="T20" fmla="*/ 21 w 40"/>
                <a:gd name="T21" fmla="*/ 17 h 30"/>
                <a:gd name="T22" fmla="*/ 25 w 40"/>
                <a:gd name="T23" fmla="*/ 17 h 30"/>
                <a:gd name="T24" fmla="*/ 33 w 40"/>
                <a:gd name="T25" fmla="*/ 19 h 30"/>
                <a:gd name="T26" fmla="*/ 35 w 40"/>
                <a:gd name="T27" fmla="*/ 20 h 30"/>
                <a:gd name="T28" fmla="*/ 27 w 40"/>
                <a:gd name="T29" fmla="*/ 16 h 30"/>
                <a:gd name="T30" fmla="*/ 25 w 40"/>
                <a:gd name="T31" fmla="*/ 16 h 30"/>
                <a:gd name="T32" fmla="*/ 21 w 40"/>
                <a:gd name="T33" fmla="*/ 16 h 30"/>
                <a:gd name="T34" fmla="*/ 11 w 40"/>
                <a:gd name="T35" fmla="*/ 25 h 30"/>
                <a:gd name="T36" fmla="*/ 11 w 40"/>
                <a:gd name="T37" fmla="*/ 25 h 30"/>
                <a:gd name="T38" fmla="*/ 11 w 40"/>
                <a:gd name="T39" fmla="*/ 25 h 30"/>
                <a:gd name="T40" fmla="*/ 10 w 40"/>
                <a:gd name="T41" fmla="*/ 25 h 30"/>
                <a:gd name="T42" fmla="*/ 1 w 40"/>
                <a:gd name="T43" fmla="*/ 2 h 30"/>
                <a:gd name="T44" fmla="*/ 0 w 40"/>
                <a:gd name="T45" fmla="*/ 1 h 30"/>
                <a:gd name="T46" fmla="*/ 0 w 40"/>
                <a:gd name="T4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" h="30">
                  <a:moveTo>
                    <a:pt x="39" y="26"/>
                  </a:move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6"/>
                    <a:pt x="39" y="26"/>
                  </a:cubicBezTo>
                  <a:moveTo>
                    <a:pt x="0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3" y="14"/>
                    <a:pt x="7" y="21"/>
                    <a:pt x="10" y="28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3" y="23"/>
                    <a:pt x="17" y="19"/>
                    <a:pt x="21" y="17"/>
                  </a:cubicBezTo>
                  <a:cubicBezTo>
                    <a:pt x="23" y="17"/>
                    <a:pt x="24" y="17"/>
                    <a:pt x="25" y="17"/>
                  </a:cubicBezTo>
                  <a:cubicBezTo>
                    <a:pt x="28" y="17"/>
                    <a:pt x="31" y="18"/>
                    <a:pt x="33" y="19"/>
                  </a:cubicBezTo>
                  <a:cubicBezTo>
                    <a:pt x="34" y="19"/>
                    <a:pt x="34" y="20"/>
                    <a:pt x="35" y="20"/>
                  </a:cubicBezTo>
                  <a:cubicBezTo>
                    <a:pt x="32" y="18"/>
                    <a:pt x="30" y="16"/>
                    <a:pt x="27" y="16"/>
                  </a:cubicBezTo>
                  <a:cubicBezTo>
                    <a:pt x="26" y="16"/>
                    <a:pt x="26" y="16"/>
                    <a:pt x="25" y="16"/>
                  </a:cubicBezTo>
                  <a:cubicBezTo>
                    <a:pt x="24" y="16"/>
                    <a:pt x="22" y="16"/>
                    <a:pt x="21" y="16"/>
                  </a:cubicBezTo>
                  <a:cubicBezTo>
                    <a:pt x="17" y="17"/>
                    <a:pt x="13" y="20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0" y="25"/>
                  </a:cubicBezTo>
                  <a:cubicBezTo>
                    <a:pt x="7" y="18"/>
                    <a:pt x="4" y="10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Freeform 303">
              <a:extLst>
                <a:ext uri="{FF2B5EF4-FFF2-40B4-BE49-F238E27FC236}">
                  <a16:creationId xmlns:a16="http://schemas.microsoft.com/office/drawing/2014/main" id="{9C44F017-D592-B351-D17C-5C78B59AF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" y="1883"/>
              <a:ext cx="59" cy="86"/>
            </a:xfrm>
            <a:custGeom>
              <a:avLst/>
              <a:gdLst>
                <a:gd name="T0" fmla="*/ 36 w 36"/>
                <a:gd name="T1" fmla="*/ 52 h 52"/>
                <a:gd name="T2" fmla="*/ 34 w 36"/>
                <a:gd name="T3" fmla="*/ 42 h 52"/>
                <a:gd name="T4" fmla="*/ 26 w 36"/>
                <a:gd name="T5" fmla="*/ 21 h 52"/>
                <a:gd name="T6" fmla="*/ 17 w 36"/>
                <a:gd name="T7" fmla="*/ 11 h 52"/>
                <a:gd name="T8" fmla="*/ 9 w 36"/>
                <a:gd name="T9" fmla="*/ 5 h 52"/>
                <a:gd name="T10" fmla="*/ 0 w 36"/>
                <a:gd name="T11" fmla="*/ 0 h 52"/>
                <a:gd name="T12" fmla="*/ 3 w 36"/>
                <a:gd name="T13" fmla="*/ 0 h 52"/>
                <a:gd name="T14" fmla="*/ 6 w 36"/>
                <a:gd name="T15" fmla="*/ 2 h 52"/>
                <a:gd name="T16" fmla="*/ 10 w 36"/>
                <a:gd name="T17" fmla="*/ 3 h 52"/>
                <a:gd name="T18" fmla="*/ 18 w 36"/>
                <a:gd name="T19" fmla="*/ 10 h 52"/>
                <a:gd name="T20" fmla="*/ 27 w 36"/>
                <a:gd name="T21" fmla="*/ 20 h 52"/>
                <a:gd name="T22" fmla="*/ 36 w 36"/>
                <a:gd name="T23" fmla="*/ 42 h 52"/>
                <a:gd name="T24" fmla="*/ 36 w 36"/>
                <a:gd name="T25" fmla="*/ 49 h 52"/>
                <a:gd name="T26" fmla="*/ 36 w 36"/>
                <a:gd name="T2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52">
                  <a:moveTo>
                    <a:pt x="36" y="52"/>
                  </a:moveTo>
                  <a:cubicBezTo>
                    <a:pt x="35" y="52"/>
                    <a:pt x="35" y="48"/>
                    <a:pt x="34" y="42"/>
                  </a:cubicBezTo>
                  <a:cubicBezTo>
                    <a:pt x="33" y="37"/>
                    <a:pt x="31" y="29"/>
                    <a:pt x="26" y="21"/>
                  </a:cubicBezTo>
                  <a:cubicBezTo>
                    <a:pt x="23" y="17"/>
                    <a:pt x="20" y="14"/>
                    <a:pt x="17" y="11"/>
                  </a:cubicBezTo>
                  <a:cubicBezTo>
                    <a:pt x="14" y="8"/>
                    <a:pt x="12" y="6"/>
                    <a:pt x="9" y="5"/>
                  </a:cubicBezTo>
                  <a:cubicBezTo>
                    <a:pt x="4" y="1"/>
                    <a:pt x="0" y="0"/>
                    <a:pt x="0" y="0"/>
                  </a:cubicBezTo>
                  <a:cubicBezTo>
                    <a:pt x="0" y="0"/>
                    <a:pt x="1" y="0"/>
                    <a:pt x="3" y="0"/>
                  </a:cubicBezTo>
                  <a:cubicBezTo>
                    <a:pt x="4" y="1"/>
                    <a:pt x="5" y="1"/>
                    <a:pt x="6" y="2"/>
                  </a:cubicBezTo>
                  <a:cubicBezTo>
                    <a:pt x="7" y="2"/>
                    <a:pt x="8" y="3"/>
                    <a:pt x="10" y="3"/>
                  </a:cubicBezTo>
                  <a:cubicBezTo>
                    <a:pt x="12" y="5"/>
                    <a:pt x="15" y="7"/>
                    <a:pt x="18" y="10"/>
                  </a:cubicBezTo>
                  <a:cubicBezTo>
                    <a:pt x="21" y="13"/>
                    <a:pt x="25" y="16"/>
                    <a:pt x="27" y="20"/>
                  </a:cubicBezTo>
                  <a:cubicBezTo>
                    <a:pt x="32" y="28"/>
                    <a:pt x="35" y="36"/>
                    <a:pt x="36" y="42"/>
                  </a:cubicBezTo>
                  <a:cubicBezTo>
                    <a:pt x="36" y="45"/>
                    <a:pt x="36" y="48"/>
                    <a:pt x="36" y="49"/>
                  </a:cubicBezTo>
                  <a:cubicBezTo>
                    <a:pt x="36" y="51"/>
                    <a:pt x="36" y="52"/>
                    <a:pt x="36" y="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Freeform 304">
              <a:extLst>
                <a:ext uri="{FF2B5EF4-FFF2-40B4-BE49-F238E27FC236}">
                  <a16:creationId xmlns:a16="http://schemas.microsoft.com/office/drawing/2014/main" id="{BEB035BD-4792-02FC-CE82-16057E591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7" y="1404"/>
              <a:ext cx="288" cy="481"/>
            </a:xfrm>
            <a:custGeom>
              <a:avLst/>
              <a:gdLst>
                <a:gd name="T0" fmla="*/ 150 w 175"/>
                <a:gd name="T1" fmla="*/ 65 h 292"/>
                <a:gd name="T2" fmla="*/ 63 w 175"/>
                <a:gd name="T3" fmla="*/ 6 h 292"/>
                <a:gd name="T4" fmla="*/ 59 w 175"/>
                <a:gd name="T5" fmla="*/ 6 h 292"/>
                <a:gd name="T6" fmla="*/ 10 w 175"/>
                <a:gd name="T7" fmla="*/ 98 h 292"/>
                <a:gd name="T8" fmla="*/ 40 w 175"/>
                <a:gd name="T9" fmla="*/ 248 h 292"/>
                <a:gd name="T10" fmla="*/ 46 w 175"/>
                <a:gd name="T11" fmla="*/ 263 h 292"/>
                <a:gd name="T12" fmla="*/ 142 w 175"/>
                <a:gd name="T13" fmla="*/ 273 h 292"/>
                <a:gd name="T14" fmla="*/ 143 w 175"/>
                <a:gd name="T15" fmla="*/ 264 h 292"/>
                <a:gd name="T16" fmla="*/ 134 w 175"/>
                <a:gd name="T17" fmla="*/ 216 h 292"/>
                <a:gd name="T18" fmla="*/ 169 w 175"/>
                <a:gd name="T19" fmla="*/ 163 h 292"/>
                <a:gd name="T20" fmla="*/ 150 w 175"/>
                <a:gd name="T21" fmla="*/ 65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5" h="292">
                  <a:moveTo>
                    <a:pt x="150" y="65"/>
                  </a:moveTo>
                  <a:cubicBezTo>
                    <a:pt x="141" y="26"/>
                    <a:pt x="103" y="0"/>
                    <a:pt x="63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16" y="15"/>
                    <a:pt x="0" y="56"/>
                    <a:pt x="10" y="98"/>
                  </a:cubicBezTo>
                  <a:cubicBezTo>
                    <a:pt x="40" y="248"/>
                    <a:pt x="40" y="248"/>
                    <a:pt x="40" y="248"/>
                  </a:cubicBezTo>
                  <a:cubicBezTo>
                    <a:pt x="46" y="263"/>
                    <a:pt x="46" y="263"/>
                    <a:pt x="46" y="263"/>
                  </a:cubicBezTo>
                  <a:cubicBezTo>
                    <a:pt x="72" y="289"/>
                    <a:pt x="111" y="292"/>
                    <a:pt x="142" y="273"/>
                  </a:cubicBezTo>
                  <a:cubicBezTo>
                    <a:pt x="143" y="264"/>
                    <a:pt x="143" y="264"/>
                    <a:pt x="143" y="264"/>
                  </a:cubicBezTo>
                  <a:cubicBezTo>
                    <a:pt x="134" y="216"/>
                    <a:pt x="134" y="216"/>
                    <a:pt x="134" y="216"/>
                  </a:cubicBezTo>
                  <a:cubicBezTo>
                    <a:pt x="134" y="216"/>
                    <a:pt x="175" y="204"/>
                    <a:pt x="169" y="163"/>
                  </a:cubicBezTo>
                  <a:cubicBezTo>
                    <a:pt x="167" y="143"/>
                    <a:pt x="158" y="102"/>
                    <a:pt x="150" y="65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Freeform 305">
              <a:extLst>
                <a:ext uri="{FF2B5EF4-FFF2-40B4-BE49-F238E27FC236}">
                  <a16:creationId xmlns:a16="http://schemas.microsoft.com/office/drawing/2014/main" id="{76F317D5-2EF9-BBAE-DBB0-4D6AB6D65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5" y="1747"/>
              <a:ext cx="96" cy="46"/>
            </a:xfrm>
            <a:custGeom>
              <a:avLst/>
              <a:gdLst>
                <a:gd name="T0" fmla="*/ 57 w 58"/>
                <a:gd name="T1" fmla="*/ 8 h 28"/>
                <a:gd name="T2" fmla="*/ 0 w 58"/>
                <a:gd name="T3" fmla="*/ 0 h 28"/>
                <a:gd name="T4" fmla="*/ 58 w 58"/>
                <a:gd name="T5" fmla="*/ 18 h 28"/>
                <a:gd name="T6" fmla="*/ 57 w 58"/>
                <a:gd name="T7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28">
                  <a:moveTo>
                    <a:pt x="57" y="8"/>
                  </a:moveTo>
                  <a:cubicBezTo>
                    <a:pt x="57" y="8"/>
                    <a:pt x="31" y="14"/>
                    <a:pt x="0" y="0"/>
                  </a:cubicBezTo>
                  <a:cubicBezTo>
                    <a:pt x="0" y="0"/>
                    <a:pt x="17" y="28"/>
                    <a:pt x="58" y="18"/>
                  </a:cubicBezTo>
                  <a:lnTo>
                    <a:pt x="57" y="8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Freeform 306">
              <a:extLst>
                <a:ext uri="{FF2B5EF4-FFF2-40B4-BE49-F238E27FC236}">
                  <a16:creationId xmlns:a16="http://schemas.microsoft.com/office/drawing/2014/main" id="{BC3BDFA4-278C-4942-DD85-588AA0D63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3" y="1556"/>
              <a:ext cx="19" cy="19"/>
            </a:xfrm>
            <a:custGeom>
              <a:avLst/>
              <a:gdLst>
                <a:gd name="T0" fmla="*/ 12 w 12"/>
                <a:gd name="T1" fmla="*/ 5 h 12"/>
                <a:gd name="T2" fmla="*/ 7 w 12"/>
                <a:gd name="T3" fmla="*/ 12 h 12"/>
                <a:gd name="T4" fmla="*/ 0 w 12"/>
                <a:gd name="T5" fmla="*/ 7 h 12"/>
                <a:gd name="T6" fmla="*/ 5 w 12"/>
                <a:gd name="T7" fmla="*/ 0 h 12"/>
                <a:gd name="T8" fmla="*/ 12 w 12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5"/>
                  </a:moveTo>
                  <a:cubicBezTo>
                    <a:pt x="12" y="8"/>
                    <a:pt x="10" y="11"/>
                    <a:pt x="7" y="12"/>
                  </a:cubicBezTo>
                  <a:cubicBezTo>
                    <a:pt x="4" y="12"/>
                    <a:pt x="1" y="10"/>
                    <a:pt x="0" y="7"/>
                  </a:cubicBezTo>
                  <a:cubicBezTo>
                    <a:pt x="0" y="4"/>
                    <a:pt x="2" y="1"/>
                    <a:pt x="5" y="0"/>
                  </a:cubicBezTo>
                  <a:cubicBezTo>
                    <a:pt x="8" y="0"/>
                    <a:pt x="11" y="2"/>
                    <a:pt x="12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Freeform 307">
              <a:extLst>
                <a:ext uri="{FF2B5EF4-FFF2-40B4-BE49-F238E27FC236}">
                  <a16:creationId xmlns:a16="http://schemas.microsoft.com/office/drawing/2014/main" id="{472A5F91-5E5D-B4B2-D742-A9E84E872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" y="1569"/>
              <a:ext cx="19" cy="20"/>
            </a:xfrm>
            <a:custGeom>
              <a:avLst/>
              <a:gdLst>
                <a:gd name="T0" fmla="*/ 12 w 12"/>
                <a:gd name="T1" fmla="*/ 5 h 12"/>
                <a:gd name="T2" fmla="*/ 7 w 12"/>
                <a:gd name="T3" fmla="*/ 11 h 12"/>
                <a:gd name="T4" fmla="*/ 0 w 12"/>
                <a:gd name="T5" fmla="*/ 7 h 12"/>
                <a:gd name="T6" fmla="*/ 5 w 12"/>
                <a:gd name="T7" fmla="*/ 0 h 12"/>
                <a:gd name="T8" fmla="*/ 12 w 12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5"/>
                  </a:moveTo>
                  <a:cubicBezTo>
                    <a:pt x="12" y="8"/>
                    <a:pt x="10" y="11"/>
                    <a:pt x="7" y="11"/>
                  </a:cubicBezTo>
                  <a:cubicBezTo>
                    <a:pt x="4" y="12"/>
                    <a:pt x="1" y="10"/>
                    <a:pt x="0" y="7"/>
                  </a:cubicBezTo>
                  <a:cubicBezTo>
                    <a:pt x="0" y="4"/>
                    <a:pt x="2" y="1"/>
                    <a:pt x="5" y="0"/>
                  </a:cubicBezTo>
                  <a:cubicBezTo>
                    <a:pt x="8" y="0"/>
                    <a:pt x="11" y="2"/>
                    <a:pt x="12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Freeform 308">
              <a:extLst>
                <a:ext uri="{FF2B5EF4-FFF2-40B4-BE49-F238E27FC236}">
                  <a16:creationId xmlns:a16="http://schemas.microsoft.com/office/drawing/2014/main" id="{D41E8591-3DBC-08B3-5CB4-5EA5C85CB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" y="1551"/>
              <a:ext cx="39" cy="16"/>
            </a:xfrm>
            <a:custGeom>
              <a:avLst/>
              <a:gdLst>
                <a:gd name="T0" fmla="*/ 24 w 24"/>
                <a:gd name="T1" fmla="*/ 5 h 10"/>
                <a:gd name="T2" fmla="*/ 12 w 24"/>
                <a:gd name="T3" fmla="*/ 5 h 10"/>
                <a:gd name="T4" fmla="*/ 0 w 24"/>
                <a:gd name="T5" fmla="*/ 9 h 10"/>
                <a:gd name="T6" fmla="*/ 2 w 24"/>
                <a:gd name="T7" fmla="*/ 5 h 10"/>
                <a:gd name="T8" fmla="*/ 11 w 24"/>
                <a:gd name="T9" fmla="*/ 1 h 10"/>
                <a:gd name="T10" fmla="*/ 21 w 24"/>
                <a:gd name="T11" fmla="*/ 3 h 10"/>
                <a:gd name="T12" fmla="*/ 24 w 24"/>
                <a:gd name="T1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0">
                  <a:moveTo>
                    <a:pt x="24" y="5"/>
                  </a:moveTo>
                  <a:cubicBezTo>
                    <a:pt x="23" y="6"/>
                    <a:pt x="18" y="4"/>
                    <a:pt x="12" y="5"/>
                  </a:cubicBezTo>
                  <a:cubicBezTo>
                    <a:pt x="5" y="6"/>
                    <a:pt x="1" y="10"/>
                    <a:pt x="0" y="9"/>
                  </a:cubicBezTo>
                  <a:cubicBezTo>
                    <a:pt x="0" y="9"/>
                    <a:pt x="0" y="7"/>
                    <a:pt x="2" y="5"/>
                  </a:cubicBezTo>
                  <a:cubicBezTo>
                    <a:pt x="4" y="4"/>
                    <a:pt x="7" y="2"/>
                    <a:pt x="11" y="1"/>
                  </a:cubicBezTo>
                  <a:cubicBezTo>
                    <a:pt x="15" y="0"/>
                    <a:pt x="19" y="1"/>
                    <a:pt x="21" y="3"/>
                  </a:cubicBezTo>
                  <a:cubicBezTo>
                    <a:pt x="23" y="4"/>
                    <a:pt x="24" y="5"/>
                    <a:pt x="24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Freeform 309">
              <a:extLst>
                <a:ext uri="{FF2B5EF4-FFF2-40B4-BE49-F238E27FC236}">
                  <a16:creationId xmlns:a16="http://schemas.microsoft.com/office/drawing/2014/main" id="{29DE2511-33C7-CFDF-056B-2C29E0FE5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" y="1537"/>
              <a:ext cx="40" cy="17"/>
            </a:xfrm>
            <a:custGeom>
              <a:avLst/>
              <a:gdLst>
                <a:gd name="T0" fmla="*/ 24 w 24"/>
                <a:gd name="T1" fmla="*/ 5 h 10"/>
                <a:gd name="T2" fmla="*/ 12 w 24"/>
                <a:gd name="T3" fmla="*/ 5 h 10"/>
                <a:gd name="T4" fmla="*/ 0 w 24"/>
                <a:gd name="T5" fmla="*/ 9 h 10"/>
                <a:gd name="T6" fmla="*/ 2 w 24"/>
                <a:gd name="T7" fmla="*/ 5 h 10"/>
                <a:gd name="T8" fmla="*/ 11 w 24"/>
                <a:gd name="T9" fmla="*/ 1 h 10"/>
                <a:gd name="T10" fmla="*/ 21 w 24"/>
                <a:gd name="T11" fmla="*/ 3 h 10"/>
                <a:gd name="T12" fmla="*/ 24 w 24"/>
                <a:gd name="T1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0">
                  <a:moveTo>
                    <a:pt x="24" y="5"/>
                  </a:moveTo>
                  <a:cubicBezTo>
                    <a:pt x="23" y="6"/>
                    <a:pt x="18" y="4"/>
                    <a:pt x="12" y="5"/>
                  </a:cubicBezTo>
                  <a:cubicBezTo>
                    <a:pt x="5" y="6"/>
                    <a:pt x="1" y="10"/>
                    <a:pt x="0" y="9"/>
                  </a:cubicBezTo>
                  <a:cubicBezTo>
                    <a:pt x="0" y="9"/>
                    <a:pt x="0" y="7"/>
                    <a:pt x="2" y="5"/>
                  </a:cubicBezTo>
                  <a:cubicBezTo>
                    <a:pt x="4" y="4"/>
                    <a:pt x="7" y="2"/>
                    <a:pt x="11" y="1"/>
                  </a:cubicBezTo>
                  <a:cubicBezTo>
                    <a:pt x="15" y="0"/>
                    <a:pt x="19" y="1"/>
                    <a:pt x="21" y="3"/>
                  </a:cubicBezTo>
                  <a:cubicBezTo>
                    <a:pt x="23" y="4"/>
                    <a:pt x="24" y="5"/>
                    <a:pt x="24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Freeform 310">
              <a:extLst>
                <a:ext uri="{FF2B5EF4-FFF2-40B4-BE49-F238E27FC236}">
                  <a16:creationId xmlns:a16="http://schemas.microsoft.com/office/drawing/2014/main" id="{75D38E55-8767-9B51-A56C-79B98EC5E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" y="1549"/>
              <a:ext cx="45" cy="87"/>
            </a:xfrm>
            <a:custGeom>
              <a:avLst/>
              <a:gdLst>
                <a:gd name="T0" fmla="*/ 11 w 27"/>
                <a:gd name="T1" fmla="*/ 53 h 53"/>
                <a:gd name="T2" fmla="*/ 21 w 27"/>
                <a:gd name="T3" fmla="*/ 50 h 53"/>
                <a:gd name="T4" fmla="*/ 24 w 27"/>
                <a:gd name="T5" fmla="*/ 48 h 53"/>
                <a:gd name="T6" fmla="*/ 22 w 27"/>
                <a:gd name="T7" fmla="*/ 43 h 53"/>
                <a:gd name="T8" fmla="*/ 16 w 27"/>
                <a:gd name="T9" fmla="*/ 31 h 53"/>
                <a:gd name="T10" fmla="*/ 1 w 27"/>
                <a:gd name="T11" fmla="*/ 1 h 53"/>
                <a:gd name="T12" fmla="*/ 18 w 27"/>
                <a:gd name="T13" fmla="*/ 30 h 53"/>
                <a:gd name="T14" fmla="*/ 25 w 27"/>
                <a:gd name="T15" fmla="*/ 42 h 53"/>
                <a:gd name="T16" fmla="*/ 26 w 27"/>
                <a:gd name="T17" fmla="*/ 48 h 53"/>
                <a:gd name="T18" fmla="*/ 24 w 27"/>
                <a:gd name="T19" fmla="*/ 51 h 53"/>
                <a:gd name="T20" fmla="*/ 21 w 27"/>
                <a:gd name="T21" fmla="*/ 51 h 53"/>
                <a:gd name="T22" fmla="*/ 11 w 27"/>
                <a:gd name="T2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53">
                  <a:moveTo>
                    <a:pt x="11" y="53"/>
                  </a:moveTo>
                  <a:cubicBezTo>
                    <a:pt x="11" y="53"/>
                    <a:pt x="15" y="51"/>
                    <a:pt x="21" y="50"/>
                  </a:cubicBezTo>
                  <a:cubicBezTo>
                    <a:pt x="23" y="49"/>
                    <a:pt x="24" y="49"/>
                    <a:pt x="24" y="48"/>
                  </a:cubicBezTo>
                  <a:cubicBezTo>
                    <a:pt x="24" y="46"/>
                    <a:pt x="24" y="45"/>
                    <a:pt x="22" y="43"/>
                  </a:cubicBezTo>
                  <a:cubicBezTo>
                    <a:pt x="20" y="39"/>
                    <a:pt x="18" y="35"/>
                    <a:pt x="16" y="31"/>
                  </a:cubicBezTo>
                  <a:cubicBezTo>
                    <a:pt x="7" y="15"/>
                    <a:pt x="0" y="1"/>
                    <a:pt x="1" y="1"/>
                  </a:cubicBezTo>
                  <a:cubicBezTo>
                    <a:pt x="1" y="0"/>
                    <a:pt x="9" y="13"/>
                    <a:pt x="18" y="30"/>
                  </a:cubicBezTo>
                  <a:cubicBezTo>
                    <a:pt x="21" y="34"/>
                    <a:pt x="23" y="38"/>
                    <a:pt x="25" y="42"/>
                  </a:cubicBezTo>
                  <a:cubicBezTo>
                    <a:pt x="26" y="43"/>
                    <a:pt x="27" y="45"/>
                    <a:pt x="26" y="48"/>
                  </a:cubicBezTo>
                  <a:cubicBezTo>
                    <a:pt x="26" y="49"/>
                    <a:pt x="25" y="50"/>
                    <a:pt x="24" y="51"/>
                  </a:cubicBezTo>
                  <a:cubicBezTo>
                    <a:pt x="23" y="51"/>
                    <a:pt x="22" y="51"/>
                    <a:pt x="21" y="51"/>
                  </a:cubicBezTo>
                  <a:cubicBezTo>
                    <a:pt x="15" y="53"/>
                    <a:pt x="11" y="53"/>
                    <a:pt x="11" y="5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Freeform 311">
              <a:extLst>
                <a:ext uri="{FF2B5EF4-FFF2-40B4-BE49-F238E27FC236}">
                  <a16:creationId xmlns:a16="http://schemas.microsoft.com/office/drawing/2014/main" id="{18CEBB7D-B53D-D92F-27DD-79F25440D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3" y="1513"/>
              <a:ext cx="49" cy="18"/>
            </a:xfrm>
            <a:custGeom>
              <a:avLst/>
              <a:gdLst>
                <a:gd name="T0" fmla="*/ 29 w 30"/>
                <a:gd name="T1" fmla="*/ 4 h 11"/>
                <a:gd name="T2" fmla="*/ 15 w 30"/>
                <a:gd name="T3" fmla="*/ 7 h 11"/>
                <a:gd name="T4" fmla="*/ 1 w 30"/>
                <a:gd name="T5" fmla="*/ 9 h 11"/>
                <a:gd name="T6" fmla="*/ 3 w 30"/>
                <a:gd name="T7" fmla="*/ 5 h 11"/>
                <a:gd name="T8" fmla="*/ 14 w 30"/>
                <a:gd name="T9" fmla="*/ 0 h 11"/>
                <a:gd name="T10" fmla="*/ 25 w 30"/>
                <a:gd name="T11" fmla="*/ 1 h 11"/>
                <a:gd name="T12" fmla="*/ 29 w 30"/>
                <a:gd name="T13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1">
                  <a:moveTo>
                    <a:pt x="29" y="4"/>
                  </a:moveTo>
                  <a:cubicBezTo>
                    <a:pt x="29" y="6"/>
                    <a:pt x="23" y="5"/>
                    <a:pt x="15" y="7"/>
                  </a:cubicBezTo>
                  <a:cubicBezTo>
                    <a:pt x="8" y="8"/>
                    <a:pt x="2" y="11"/>
                    <a:pt x="1" y="9"/>
                  </a:cubicBezTo>
                  <a:cubicBezTo>
                    <a:pt x="0" y="8"/>
                    <a:pt x="1" y="7"/>
                    <a:pt x="3" y="5"/>
                  </a:cubicBezTo>
                  <a:cubicBezTo>
                    <a:pt x="6" y="3"/>
                    <a:pt x="9" y="1"/>
                    <a:pt x="14" y="0"/>
                  </a:cubicBezTo>
                  <a:cubicBezTo>
                    <a:pt x="18" y="0"/>
                    <a:pt x="23" y="0"/>
                    <a:pt x="25" y="1"/>
                  </a:cubicBezTo>
                  <a:cubicBezTo>
                    <a:pt x="28" y="2"/>
                    <a:pt x="30" y="3"/>
                    <a:pt x="29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Freeform 312">
              <a:extLst>
                <a:ext uri="{FF2B5EF4-FFF2-40B4-BE49-F238E27FC236}">
                  <a16:creationId xmlns:a16="http://schemas.microsoft.com/office/drawing/2014/main" id="{C836CE4C-DC2C-4D65-226B-E37FCB5BE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0" y="1501"/>
              <a:ext cx="46" cy="15"/>
            </a:xfrm>
            <a:custGeom>
              <a:avLst/>
              <a:gdLst>
                <a:gd name="T0" fmla="*/ 28 w 28"/>
                <a:gd name="T1" fmla="*/ 5 h 9"/>
                <a:gd name="T2" fmla="*/ 14 w 28"/>
                <a:gd name="T3" fmla="*/ 7 h 9"/>
                <a:gd name="T4" fmla="*/ 1 w 28"/>
                <a:gd name="T5" fmla="*/ 8 h 9"/>
                <a:gd name="T6" fmla="*/ 3 w 28"/>
                <a:gd name="T7" fmla="*/ 4 h 9"/>
                <a:gd name="T8" fmla="*/ 14 w 28"/>
                <a:gd name="T9" fmla="*/ 0 h 9"/>
                <a:gd name="T10" fmla="*/ 25 w 28"/>
                <a:gd name="T11" fmla="*/ 2 h 9"/>
                <a:gd name="T12" fmla="*/ 28 w 28"/>
                <a:gd name="T1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9">
                  <a:moveTo>
                    <a:pt x="28" y="5"/>
                  </a:moveTo>
                  <a:cubicBezTo>
                    <a:pt x="26" y="7"/>
                    <a:pt x="21" y="6"/>
                    <a:pt x="14" y="7"/>
                  </a:cubicBezTo>
                  <a:cubicBezTo>
                    <a:pt x="8" y="7"/>
                    <a:pt x="2" y="9"/>
                    <a:pt x="1" y="8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5" y="2"/>
                    <a:pt x="9" y="1"/>
                    <a:pt x="14" y="0"/>
                  </a:cubicBezTo>
                  <a:cubicBezTo>
                    <a:pt x="18" y="0"/>
                    <a:pt x="22" y="0"/>
                    <a:pt x="25" y="2"/>
                  </a:cubicBezTo>
                  <a:cubicBezTo>
                    <a:pt x="27" y="3"/>
                    <a:pt x="28" y="4"/>
                    <a:pt x="28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Freeform 313">
              <a:extLst>
                <a:ext uri="{FF2B5EF4-FFF2-40B4-BE49-F238E27FC236}">
                  <a16:creationId xmlns:a16="http://schemas.microsoft.com/office/drawing/2014/main" id="{13624F76-7519-BF07-5421-0A527ED79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" y="1366"/>
              <a:ext cx="278" cy="127"/>
            </a:xfrm>
            <a:custGeom>
              <a:avLst/>
              <a:gdLst>
                <a:gd name="T0" fmla="*/ 167 w 169"/>
                <a:gd name="T1" fmla="*/ 50 h 77"/>
                <a:gd name="T2" fmla="*/ 158 w 169"/>
                <a:gd name="T3" fmla="*/ 45 h 77"/>
                <a:gd name="T4" fmla="*/ 164 w 169"/>
                <a:gd name="T5" fmla="*/ 41 h 77"/>
                <a:gd name="T6" fmla="*/ 165 w 169"/>
                <a:gd name="T7" fmla="*/ 35 h 77"/>
                <a:gd name="T8" fmla="*/ 156 w 169"/>
                <a:gd name="T9" fmla="*/ 32 h 77"/>
                <a:gd name="T10" fmla="*/ 144 w 169"/>
                <a:gd name="T11" fmla="*/ 26 h 77"/>
                <a:gd name="T12" fmla="*/ 133 w 169"/>
                <a:gd name="T13" fmla="*/ 10 h 77"/>
                <a:gd name="T14" fmla="*/ 112 w 169"/>
                <a:gd name="T15" fmla="*/ 0 h 77"/>
                <a:gd name="T16" fmla="*/ 90 w 169"/>
                <a:gd name="T17" fmla="*/ 10 h 77"/>
                <a:gd name="T18" fmla="*/ 65 w 169"/>
                <a:gd name="T19" fmla="*/ 5 h 77"/>
                <a:gd name="T20" fmla="*/ 45 w 169"/>
                <a:gd name="T21" fmla="*/ 23 h 77"/>
                <a:gd name="T22" fmla="*/ 12 w 169"/>
                <a:gd name="T23" fmla="*/ 31 h 77"/>
                <a:gd name="T24" fmla="*/ 4 w 169"/>
                <a:gd name="T25" fmla="*/ 65 h 77"/>
                <a:gd name="T26" fmla="*/ 31 w 169"/>
                <a:gd name="T27" fmla="*/ 77 h 77"/>
                <a:gd name="T28" fmla="*/ 47 w 169"/>
                <a:gd name="T29" fmla="*/ 63 h 77"/>
                <a:gd name="T30" fmla="*/ 69 w 169"/>
                <a:gd name="T31" fmla="*/ 73 h 77"/>
                <a:gd name="T32" fmla="*/ 86 w 169"/>
                <a:gd name="T33" fmla="*/ 65 h 77"/>
                <a:gd name="T34" fmla="*/ 109 w 169"/>
                <a:gd name="T35" fmla="*/ 67 h 77"/>
                <a:gd name="T36" fmla="*/ 130 w 169"/>
                <a:gd name="T37" fmla="*/ 75 h 77"/>
                <a:gd name="T38" fmla="*/ 156 w 169"/>
                <a:gd name="T39" fmla="*/ 68 h 77"/>
                <a:gd name="T40" fmla="*/ 165 w 169"/>
                <a:gd name="T41" fmla="*/ 61 h 77"/>
                <a:gd name="T42" fmla="*/ 167 w 169"/>
                <a:gd name="T43" fmla="*/ 5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9" h="77">
                  <a:moveTo>
                    <a:pt x="167" y="50"/>
                  </a:moveTo>
                  <a:cubicBezTo>
                    <a:pt x="166" y="47"/>
                    <a:pt x="162" y="44"/>
                    <a:pt x="158" y="45"/>
                  </a:cubicBezTo>
                  <a:cubicBezTo>
                    <a:pt x="160" y="44"/>
                    <a:pt x="162" y="43"/>
                    <a:pt x="164" y="41"/>
                  </a:cubicBezTo>
                  <a:cubicBezTo>
                    <a:pt x="165" y="40"/>
                    <a:pt x="166" y="37"/>
                    <a:pt x="165" y="35"/>
                  </a:cubicBezTo>
                  <a:cubicBezTo>
                    <a:pt x="163" y="32"/>
                    <a:pt x="159" y="32"/>
                    <a:pt x="156" y="32"/>
                  </a:cubicBezTo>
                  <a:cubicBezTo>
                    <a:pt x="152" y="31"/>
                    <a:pt x="147" y="29"/>
                    <a:pt x="144" y="26"/>
                  </a:cubicBezTo>
                  <a:cubicBezTo>
                    <a:pt x="140" y="21"/>
                    <a:pt x="138" y="15"/>
                    <a:pt x="133" y="10"/>
                  </a:cubicBezTo>
                  <a:cubicBezTo>
                    <a:pt x="128" y="4"/>
                    <a:pt x="120" y="0"/>
                    <a:pt x="112" y="0"/>
                  </a:cubicBezTo>
                  <a:cubicBezTo>
                    <a:pt x="104" y="0"/>
                    <a:pt x="95" y="4"/>
                    <a:pt x="90" y="10"/>
                  </a:cubicBezTo>
                  <a:cubicBezTo>
                    <a:pt x="83" y="5"/>
                    <a:pt x="73" y="2"/>
                    <a:pt x="65" y="5"/>
                  </a:cubicBezTo>
                  <a:cubicBezTo>
                    <a:pt x="56" y="7"/>
                    <a:pt x="48" y="14"/>
                    <a:pt x="45" y="23"/>
                  </a:cubicBezTo>
                  <a:cubicBezTo>
                    <a:pt x="34" y="19"/>
                    <a:pt x="20" y="23"/>
                    <a:pt x="12" y="31"/>
                  </a:cubicBezTo>
                  <a:cubicBezTo>
                    <a:pt x="4" y="40"/>
                    <a:pt x="0" y="53"/>
                    <a:pt x="4" y="65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1" y="69"/>
                    <a:pt x="39" y="62"/>
                    <a:pt x="47" y="63"/>
                  </a:cubicBezTo>
                  <a:cubicBezTo>
                    <a:pt x="55" y="65"/>
                    <a:pt x="61" y="73"/>
                    <a:pt x="69" y="73"/>
                  </a:cubicBezTo>
                  <a:cubicBezTo>
                    <a:pt x="75" y="72"/>
                    <a:pt x="80" y="67"/>
                    <a:pt x="86" y="65"/>
                  </a:cubicBezTo>
                  <a:cubicBezTo>
                    <a:pt x="93" y="62"/>
                    <a:pt x="101" y="64"/>
                    <a:pt x="109" y="67"/>
                  </a:cubicBezTo>
                  <a:cubicBezTo>
                    <a:pt x="116" y="70"/>
                    <a:pt x="123" y="74"/>
                    <a:pt x="130" y="75"/>
                  </a:cubicBezTo>
                  <a:cubicBezTo>
                    <a:pt x="139" y="76"/>
                    <a:pt x="148" y="73"/>
                    <a:pt x="156" y="68"/>
                  </a:cubicBezTo>
                  <a:cubicBezTo>
                    <a:pt x="159" y="67"/>
                    <a:pt x="163" y="64"/>
                    <a:pt x="165" y="61"/>
                  </a:cubicBezTo>
                  <a:cubicBezTo>
                    <a:pt x="167" y="58"/>
                    <a:pt x="169" y="54"/>
                    <a:pt x="167" y="5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Freeform 314">
              <a:extLst>
                <a:ext uri="{FF2B5EF4-FFF2-40B4-BE49-F238E27FC236}">
                  <a16:creationId xmlns:a16="http://schemas.microsoft.com/office/drawing/2014/main" id="{F8D131F4-7DF0-FDF2-6400-017E4DB73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" y="1397"/>
              <a:ext cx="250" cy="243"/>
            </a:xfrm>
            <a:custGeom>
              <a:avLst/>
              <a:gdLst>
                <a:gd name="T0" fmla="*/ 34 w 152"/>
                <a:gd name="T1" fmla="*/ 46 h 147"/>
                <a:gd name="T2" fmla="*/ 152 w 152"/>
                <a:gd name="T3" fmla="*/ 31 h 147"/>
                <a:gd name="T4" fmla="*/ 132 w 152"/>
                <a:gd name="T5" fmla="*/ 14 h 147"/>
                <a:gd name="T6" fmla="*/ 76 w 152"/>
                <a:gd name="T7" fmla="*/ 2 h 147"/>
                <a:gd name="T8" fmla="*/ 9 w 152"/>
                <a:gd name="T9" fmla="*/ 49 h 147"/>
                <a:gd name="T10" fmla="*/ 1 w 152"/>
                <a:gd name="T11" fmla="*/ 70 h 147"/>
                <a:gd name="T12" fmla="*/ 18 w 152"/>
                <a:gd name="T13" fmla="*/ 116 h 147"/>
                <a:gd name="T14" fmla="*/ 28 w 152"/>
                <a:gd name="T15" fmla="*/ 147 h 147"/>
                <a:gd name="T16" fmla="*/ 28 w 152"/>
                <a:gd name="T17" fmla="*/ 147 h 147"/>
                <a:gd name="T18" fmla="*/ 34 w 152"/>
                <a:gd name="T19" fmla="*/ 134 h 147"/>
                <a:gd name="T20" fmla="*/ 29 w 152"/>
                <a:gd name="T21" fmla="*/ 109 h 147"/>
                <a:gd name="T22" fmla="*/ 34 w 152"/>
                <a:gd name="T23" fmla="*/ 63 h 147"/>
                <a:gd name="T24" fmla="*/ 34 w 152"/>
                <a:gd name="T25" fmla="*/ 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2" h="147">
                  <a:moveTo>
                    <a:pt x="34" y="46"/>
                  </a:moveTo>
                  <a:cubicBezTo>
                    <a:pt x="152" y="31"/>
                    <a:pt x="152" y="31"/>
                    <a:pt x="152" y="31"/>
                  </a:cubicBezTo>
                  <a:cubicBezTo>
                    <a:pt x="147" y="24"/>
                    <a:pt x="140" y="18"/>
                    <a:pt x="132" y="14"/>
                  </a:cubicBezTo>
                  <a:cubicBezTo>
                    <a:pt x="115" y="4"/>
                    <a:pt x="95" y="0"/>
                    <a:pt x="76" y="2"/>
                  </a:cubicBezTo>
                  <a:cubicBezTo>
                    <a:pt x="57" y="5"/>
                    <a:pt x="21" y="34"/>
                    <a:pt x="9" y="49"/>
                  </a:cubicBezTo>
                  <a:cubicBezTo>
                    <a:pt x="0" y="61"/>
                    <a:pt x="1" y="70"/>
                    <a:pt x="1" y="70"/>
                  </a:cubicBezTo>
                  <a:cubicBezTo>
                    <a:pt x="2" y="86"/>
                    <a:pt x="13" y="102"/>
                    <a:pt x="18" y="116"/>
                  </a:cubicBezTo>
                  <a:cubicBezTo>
                    <a:pt x="21" y="124"/>
                    <a:pt x="28" y="147"/>
                    <a:pt x="28" y="147"/>
                  </a:cubicBezTo>
                  <a:cubicBezTo>
                    <a:pt x="28" y="147"/>
                    <a:pt x="28" y="147"/>
                    <a:pt x="28" y="147"/>
                  </a:cubicBezTo>
                  <a:cubicBezTo>
                    <a:pt x="34" y="146"/>
                    <a:pt x="36" y="140"/>
                    <a:pt x="34" y="134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29" y="109"/>
                    <a:pt x="49" y="90"/>
                    <a:pt x="34" y="63"/>
                  </a:cubicBezTo>
                  <a:cubicBezTo>
                    <a:pt x="32" y="61"/>
                    <a:pt x="27" y="51"/>
                    <a:pt x="34" y="4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Freeform 315">
              <a:extLst>
                <a:ext uri="{FF2B5EF4-FFF2-40B4-BE49-F238E27FC236}">
                  <a16:creationId xmlns:a16="http://schemas.microsoft.com/office/drawing/2014/main" id="{BF2FF473-8180-E9A3-0348-36E172241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9" y="1470"/>
              <a:ext cx="84" cy="168"/>
            </a:xfrm>
            <a:custGeom>
              <a:avLst/>
              <a:gdLst>
                <a:gd name="T0" fmla="*/ 46 w 51"/>
                <a:gd name="T1" fmla="*/ 64 h 102"/>
                <a:gd name="T2" fmla="*/ 34 w 51"/>
                <a:gd name="T3" fmla="*/ 0 h 102"/>
                <a:gd name="T4" fmla="*/ 30 w 51"/>
                <a:gd name="T5" fmla="*/ 0 h 102"/>
                <a:gd name="T6" fmla="*/ 29 w 51"/>
                <a:gd name="T7" fmla="*/ 2 h 102"/>
                <a:gd name="T8" fmla="*/ 11 w 51"/>
                <a:gd name="T9" fmla="*/ 10 h 102"/>
                <a:gd name="T10" fmla="*/ 13 w 51"/>
                <a:gd name="T11" fmla="*/ 29 h 102"/>
                <a:gd name="T12" fmla="*/ 0 w 51"/>
                <a:gd name="T13" fmla="*/ 43 h 102"/>
                <a:gd name="T14" fmla="*/ 6 w 51"/>
                <a:gd name="T15" fmla="*/ 57 h 102"/>
                <a:gd name="T16" fmla="*/ 12 w 51"/>
                <a:gd name="T17" fmla="*/ 70 h 102"/>
                <a:gd name="T18" fmla="*/ 5 w 51"/>
                <a:gd name="T19" fmla="*/ 81 h 102"/>
                <a:gd name="T20" fmla="*/ 19 w 51"/>
                <a:gd name="T21" fmla="*/ 86 h 102"/>
                <a:gd name="T22" fmla="*/ 12 w 51"/>
                <a:gd name="T23" fmla="*/ 98 h 102"/>
                <a:gd name="T24" fmla="*/ 39 w 51"/>
                <a:gd name="T25" fmla="*/ 94 h 102"/>
                <a:gd name="T26" fmla="*/ 50 w 51"/>
                <a:gd name="T27" fmla="*/ 81 h 102"/>
                <a:gd name="T28" fmla="*/ 46 w 51"/>
                <a:gd name="T29" fmla="*/ 6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" h="102">
                  <a:moveTo>
                    <a:pt x="46" y="64"/>
                  </a:moveTo>
                  <a:cubicBezTo>
                    <a:pt x="38" y="43"/>
                    <a:pt x="30" y="22"/>
                    <a:pt x="34" y="0"/>
                  </a:cubicBezTo>
                  <a:cubicBezTo>
                    <a:pt x="32" y="0"/>
                    <a:pt x="31" y="0"/>
                    <a:pt x="30" y="0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2" y="0"/>
                    <a:pt x="14" y="4"/>
                    <a:pt x="11" y="10"/>
                  </a:cubicBezTo>
                  <a:cubicBezTo>
                    <a:pt x="7" y="16"/>
                    <a:pt x="8" y="24"/>
                    <a:pt x="13" y="29"/>
                  </a:cubicBezTo>
                  <a:cubicBezTo>
                    <a:pt x="6" y="30"/>
                    <a:pt x="0" y="36"/>
                    <a:pt x="0" y="43"/>
                  </a:cubicBezTo>
                  <a:cubicBezTo>
                    <a:pt x="0" y="48"/>
                    <a:pt x="3" y="53"/>
                    <a:pt x="6" y="57"/>
                  </a:cubicBezTo>
                  <a:cubicBezTo>
                    <a:pt x="8" y="61"/>
                    <a:pt x="11" y="65"/>
                    <a:pt x="12" y="70"/>
                  </a:cubicBezTo>
                  <a:cubicBezTo>
                    <a:pt x="12" y="75"/>
                    <a:pt x="10" y="80"/>
                    <a:pt x="5" y="81"/>
                  </a:cubicBezTo>
                  <a:cubicBezTo>
                    <a:pt x="8" y="86"/>
                    <a:pt x="14" y="88"/>
                    <a:pt x="19" y="86"/>
                  </a:cubicBezTo>
                  <a:cubicBezTo>
                    <a:pt x="18" y="91"/>
                    <a:pt x="16" y="95"/>
                    <a:pt x="12" y="98"/>
                  </a:cubicBezTo>
                  <a:cubicBezTo>
                    <a:pt x="21" y="102"/>
                    <a:pt x="31" y="99"/>
                    <a:pt x="39" y="94"/>
                  </a:cubicBezTo>
                  <a:cubicBezTo>
                    <a:pt x="44" y="91"/>
                    <a:pt x="48" y="87"/>
                    <a:pt x="50" y="81"/>
                  </a:cubicBezTo>
                  <a:cubicBezTo>
                    <a:pt x="51" y="75"/>
                    <a:pt x="49" y="69"/>
                    <a:pt x="46" y="6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Freeform 316">
              <a:extLst>
                <a:ext uri="{FF2B5EF4-FFF2-40B4-BE49-F238E27FC236}">
                  <a16:creationId xmlns:a16="http://schemas.microsoft.com/office/drawing/2014/main" id="{170E692C-6921-3C9B-7F37-D02EDDE26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9" y="1608"/>
              <a:ext cx="61" cy="92"/>
            </a:xfrm>
            <a:custGeom>
              <a:avLst/>
              <a:gdLst>
                <a:gd name="T0" fmla="*/ 29 w 37"/>
                <a:gd name="T1" fmla="*/ 4 h 56"/>
                <a:gd name="T2" fmla="*/ 5 w 37"/>
                <a:gd name="T3" fmla="*/ 28 h 56"/>
                <a:gd name="T4" fmla="*/ 37 w 37"/>
                <a:gd name="T5" fmla="*/ 44 h 56"/>
                <a:gd name="T6" fmla="*/ 29 w 37"/>
                <a:gd name="T7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6">
                  <a:moveTo>
                    <a:pt x="29" y="4"/>
                  </a:moveTo>
                  <a:cubicBezTo>
                    <a:pt x="28" y="4"/>
                    <a:pt x="0" y="0"/>
                    <a:pt x="5" y="28"/>
                  </a:cubicBezTo>
                  <a:cubicBezTo>
                    <a:pt x="10" y="56"/>
                    <a:pt x="37" y="45"/>
                    <a:pt x="37" y="44"/>
                  </a:cubicBezTo>
                  <a:cubicBezTo>
                    <a:pt x="37" y="44"/>
                    <a:pt x="29" y="4"/>
                    <a:pt x="29" y="4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Freeform 317">
              <a:extLst>
                <a:ext uri="{FF2B5EF4-FFF2-40B4-BE49-F238E27FC236}">
                  <a16:creationId xmlns:a16="http://schemas.microsoft.com/office/drawing/2014/main" id="{B9261E7D-B1BB-3E8C-BF47-F1248CFFD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2" y="1630"/>
              <a:ext cx="25" cy="41"/>
            </a:xfrm>
            <a:custGeom>
              <a:avLst/>
              <a:gdLst>
                <a:gd name="T0" fmla="*/ 15 w 15"/>
                <a:gd name="T1" fmla="*/ 22 h 25"/>
                <a:gd name="T2" fmla="*/ 13 w 15"/>
                <a:gd name="T3" fmla="*/ 23 h 25"/>
                <a:gd name="T4" fmla="*/ 10 w 15"/>
                <a:gd name="T5" fmla="*/ 24 h 25"/>
                <a:gd name="T6" fmla="*/ 2 w 15"/>
                <a:gd name="T7" fmla="*/ 14 h 25"/>
                <a:gd name="T8" fmla="*/ 2 w 15"/>
                <a:gd name="T9" fmla="*/ 7 h 25"/>
                <a:gd name="T10" fmla="*/ 5 w 15"/>
                <a:gd name="T11" fmla="*/ 2 h 25"/>
                <a:gd name="T12" fmla="*/ 9 w 15"/>
                <a:gd name="T13" fmla="*/ 3 h 25"/>
                <a:gd name="T14" fmla="*/ 9 w 15"/>
                <a:gd name="T15" fmla="*/ 4 h 25"/>
                <a:gd name="T16" fmla="*/ 9 w 15"/>
                <a:gd name="T17" fmla="*/ 3 h 25"/>
                <a:gd name="T18" fmla="*/ 8 w 15"/>
                <a:gd name="T19" fmla="*/ 1 h 25"/>
                <a:gd name="T20" fmla="*/ 5 w 15"/>
                <a:gd name="T21" fmla="*/ 1 h 25"/>
                <a:gd name="T22" fmla="*/ 1 w 15"/>
                <a:gd name="T23" fmla="*/ 6 h 25"/>
                <a:gd name="T24" fmla="*/ 0 w 15"/>
                <a:gd name="T25" fmla="*/ 14 h 25"/>
                <a:gd name="T26" fmla="*/ 10 w 15"/>
                <a:gd name="T27" fmla="*/ 25 h 25"/>
                <a:gd name="T28" fmla="*/ 14 w 15"/>
                <a:gd name="T29" fmla="*/ 23 h 25"/>
                <a:gd name="T30" fmla="*/ 15 w 15"/>
                <a:gd name="T31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25">
                  <a:moveTo>
                    <a:pt x="15" y="22"/>
                  </a:moveTo>
                  <a:cubicBezTo>
                    <a:pt x="15" y="22"/>
                    <a:pt x="14" y="22"/>
                    <a:pt x="13" y="23"/>
                  </a:cubicBezTo>
                  <a:cubicBezTo>
                    <a:pt x="13" y="23"/>
                    <a:pt x="11" y="24"/>
                    <a:pt x="10" y="24"/>
                  </a:cubicBezTo>
                  <a:cubicBezTo>
                    <a:pt x="7" y="23"/>
                    <a:pt x="3" y="19"/>
                    <a:pt x="2" y="14"/>
                  </a:cubicBezTo>
                  <a:cubicBezTo>
                    <a:pt x="2" y="11"/>
                    <a:pt x="2" y="9"/>
                    <a:pt x="2" y="7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10" y="4"/>
                    <a:pt x="9" y="3"/>
                  </a:cubicBezTo>
                  <a:cubicBezTo>
                    <a:pt x="9" y="2"/>
                    <a:pt x="9" y="1"/>
                    <a:pt x="8" y="1"/>
                  </a:cubicBezTo>
                  <a:cubicBezTo>
                    <a:pt x="7" y="1"/>
                    <a:pt x="6" y="0"/>
                    <a:pt x="5" y="1"/>
                  </a:cubicBezTo>
                  <a:cubicBezTo>
                    <a:pt x="3" y="1"/>
                    <a:pt x="1" y="4"/>
                    <a:pt x="1" y="6"/>
                  </a:cubicBezTo>
                  <a:cubicBezTo>
                    <a:pt x="0" y="8"/>
                    <a:pt x="0" y="11"/>
                    <a:pt x="0" y="14"/>
                  </a:cubicBezTo>
                  <a:cubicBezTo>
                    <a:pt x="2" y="20"/>
                    <a:pt x="5" y="25"/>
                    <a:pt x="10" y="25"/>
                  </a:cubicBezTo>
                  <a:cubicBezTo>
                    <a:pt x="12" y="25"/>
                    <a:pt x="13" y="24"/>
                    <a:pt x="14" y="23"/>
                  </a:cubicBezTo>
                  <a:cubicBezTo>
                    <a:pt x="15" y="23"/>
                    <a:pt x="15" y="22"/>
                    <a:pt x="15" y="22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Freeform 318">
              <a:extLst>
                <a:ext uri="{FF2B5EF4-FFF2-40B4-BE49-F238E27FC236}">
                  <a16:creationId xmlns:a16="http://schemas.microsoft.com/office/drawing/2014/main" id="{6D4595F8-0F6C-611A-0B04-B4673F989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1478"/>
              <a:ext cx="56" cy="104"/>
            </a:xfrm>
            <a:custGeom>
              <a:avLst/>
              <a:gdLst>
                <a:gd name="T0" fmla="*/ 1 w 34"/>
                <a:gd name="T1" fmla="*/ 63 h 63"/>
                <a:gd name="T2" fmla="*/ 0 w 34"/>
                <a:gd name="T3" fmla="*/ 60 h 63"/>
                <a:gd name="T4" fmla="*/ 5 w 34"/>
                <a:gd name="T5" fmla="*/ 52 h 63"/>
                <a:gd name="T6" fmla="*/ 17 w 34"/>
                <a:gd name="T7" fmla="*/ 47 h 63"/>
                <a:gd name="T8" fmla="*/ 29 w 34"/>
                <a:gd name="T9" fmla="*/ 39 h 63"/>
                <a:gd name="T10" fmla="*/ 30 w 34"/>
                <a:gd name="T11" fmla="*/ 24 h 63"/>
                <a:gd name="T12" fmla="*/ 26 w 34"/>
                <a:gd name="T13" fmla="*/ 12 h 63"/>
                <a:gd name="T14" fmla="*/ 24 w 34"/>
                <a:gd name="T15" fmla="*/ 0 h 63"/>
                <a:gd name="T16" fmla="*/ 27 w 34"/>
                <a:gd name="T17" fmla="*/ 11 h 63"/>
                <a:gd name="T18" fmla="*/ 32 w 34"/>
                <a:gd name="T19" fmla="*/ 24 h 63"/>
                <a:gd name="T20" fmla="*/ 31 w 34"/>
                <a:gd name="T21" fmla="*/ 40 h 63"/>
                <a:gd name="T22" fmla="*/ 25 w 34"/>
                <a:gd name="T23" fmla="*/ 47 h 63"/>
                <a:gd name="T24" fmla="*/ 18 w 34"/>
                <a:gd name="T25" fmla="*/ 49 h 63"/>
                <a:gd name="T26" fmla="*/ 6 w 34"/>
                <a:gd name="T27" fmla="*/ 53 h 63"/>
                <a:gd name="T28" fmla="*/ 1 w 34"/>
                <a:gd name="T29" fmla="*/ 60 h 63"/>
                <a:gd name="T30" fmla="*/ 1 w 34"/>
                <a:gd name="T31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63">
                  <a:moveTo>
                    <a:pt x="1" y="63"/>
                  </a:moveTo>
                  <a:cubicBezTo>
                    <a:pt x="1" y="63"/>
                    <a:pt x="0" y="62"/>
                    <a:pt x="0" y="60"/>
                  </a:cubicBezTo>
                  <a:cubicBezTo>
                    <a:pt x="0" y="58"/>
                    <a:pt x="1" y="54"/>
                    <a:pt x="5" y="52"/>
                  </a:cubicBezTo>
                  <a:cubicBezTo>
                    <a:pt x="8" y="50"/>
                    <a:pt x="12" y="48"/>
                    <a:pt x="17" y="47"/>
                  </a:cubicBezTo>
                  <a:cubicBezTo>
                    <a:pt x="22" y="46"/>
                    <a:pt x="27" y="44"/>
                    <a:pt x="29" y="39"/>
                  </a:cubicBezTo>
                  <a:cubicBezTo>
                    <a:pt x="31" y="34"/>
                    <a:pt x="31" y="29"/>
                    <a:pt x="30" y="24"/>
                  </a:cubicBezTo>
                  <a:cubicBezTo>
                    <a:pt x="29" y="20"/>
                    <a:pt x="27" y="15"/>
                    <a:pt x="26" y="12"/>
                  </a:cubicBezTo>
                  <a:cubicBezTo>
                    <a:pt x="23" y="4"/>
                    <a:pt x="24" y="0"/>
                    <a:pt x="24" y="0"/>
                  </a:cubicBezTo>
                  <a:cubicBezTo>
                    <a:pt x="25" y="0"/>
                    <a:pt x="25" y="4"/>
                    <a:pt x="27" y="11"/>
                  </a:cubicBezTo>
                  <a:cubicBezTo>
                    <a:pt x="28" y="15"/>
                    <a:pt x="30" y="19"/>
                    <a:pt x="32" y="24"/>
                  </a:cubicBezTo>
                  <a:cubicBezTo>
                    <a:pt x="33" y="29"/>
                    <a:pt x="34" y="34"/>
                    <a:pt x="31" y="40"/>
                  </a:cubicBezTo>
                  <a:cubicBezTo>
                    <a:pt x="30" y="43"/>
                    <a:pt x="28" y="45"/>
                    <a:pt x="25" y="47"/>
                  </a:cubicBezTo>
                  <a:cubicBezTo>
                    <a:pt x="23" y="48"/>
                    <a:pt x="20" y="49"/>
                    <a:pt x="18" y="49"/>
                  </a:cubicBezTo>
                  <a:cubicBezTo>
                    <a:pt x="13" y="50"/>
                    <a:pt x="8" y="51"/>
                    <a:pt x="6" y="53"/>
                  </a:cubicBezTo>
                  <a:cubicBezTo>
                    <a:pt x="3" y="55"/>
                    <a:pt x="1" y="58"/>
                    <a:pt x="1" y="60"/>
                  </a:cubicBezTo>
                  <a:cubicBezTo>
                    <a:pt x="1" y="62"/>
                    <a:pt x="1" y="63"/>
                    <a:pt x="1" y="6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Freeform 319">
              <a:extLst>
                <a:ext uri="{FF2B5EF4-FFF2-40B4-BE49-F238E27FC236}">
                  <a16:creationId xmlns:a16="http://schemas.microsoft.com/office/drawing/2014/main" id="{CAA04527-BABE-4F50-E103-253889F6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8" y="1473"/>
              <a:ext cx="42" cy="91"/>
            </a:xfrm>
            <a:custGeom>
              <a:avLst/>
              <a:gdLst>
                <a:gd name="T0" fmla="*/ 2 w 26"/>
                <a:gd name="T1" fmla="*/ 55 h 55"/>
                <a:gd name="T2" fmla="*/ 1 w 26"/>
                <a:gd name="T3" fmla="*/ 52 h 55"/>
                <a:gd name="T4" fmla="*/ 1 w 26"/>
                <a:gd name="T5" fmla="*/ 45 h 55"/>
                <a:gd name="T6" fmla="*/ 4 w 26"/>
                <a:gd name="T7" fmla="*/ 40 h 55"/>
                <a:gd name="T8" fmla="*/ 9 w 26"/>
                <a:gd name="T9" fmla="*/ 37 h 55"/>
                <a:gd name="T10" fmla="*/ 14 w 26"/>
                <a:gd name="T11" fmla="*/ 34 h 55"/>
                <a:gd name="T12" fmla="*/ 16 w 26"/>
                <a:gd name="T13" fmla="*/ 29 h 55"/>
                <a:gd name="T14" fmla="*/ 15 w 26"/>
                <a:gd name="T15" fmla="*/ 22 h 55"/>
                <a:gd name="T16" fmla="*/ 15 w 26"/>
                <a:gd name="T17" fmla="*/ 16 h 55"/>
                <a:gd name="T18" fmla="*/ 18 w 26"/>
                <a:gd name="T19" fmla="*/ 5 h 55"/>
                <a:gd name="T20" fmla="*/ 23 w 26"/>
                <a:gd name="T21" fmla="*/ 1 h 55"/>
                <a:gd name="T22" fmla="*/ 26 w 26"/>
                <a:gd name="T23" fmla="*/ 1 h 55"/>
                <a:gd name="T24" fmla="*/ 24 w 26"/>
                <a:gd name="T25" fmla="*/ 1 h 55"/>
                <a:gd name="T26" fmla="*/ 19 w 26"/>
                <a:gd name="T27" fmla="*/ 6 h 55"/>
                <a:gd name="T28" fmla="*/ 17 w 26"/>
                <a:gd name="T29" fmla="*/ 16 h 55"/>
                <a:gd name="T30" fmla="*/ 17 w 26"/>
                <a:gd name="T31" fmla="*/ 22 h 55"/>
                <a:gd name="T32" fmla="*/ 18 w 26"/>
                <a:gd name="T33" fmla="*/ 29 h 55"/>
                <a:gd name="T34" fmla="*/ 16 w 26"/>
                <a:gd name="T35" fmla="*/ 36 h 55"/>
                <a:gd name="T36" fmla="*/ 10 w 26"/>
                <a:gd name="T37" fmla="*/ 39 h 55"/>
                <a:gd name="T38" fmla="*/ 3 w 26"/>
                <a:gd name="T39" fmla="*/ 45 h 55"/>
                <a:gd name="T40" fmla="*/ 2 w 26"/>
                <a:gd name="T4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55">
                  <a:moveTo>
                    <a:pt x="2" y="55"/>
                  </a:moveTo>
                  <a:cubicBezTo>
                    <a:pt x="2" y="55"/>
                    <a:pt x="1" y="54"/>
                    <a:pt x="1" y="52"/>
                  </a:cubicBezTo>
                  <a:cubicBezTo>
                    <a:pt x="0" y="51"/>
                    <a:pt x="0" y="48"/>
                    <a:pt x="1" y="45"/>
                  </a:cubicBezTo>
                  <a:cubicBezTo>
                    <a:pt x="2" y="43"/>
                    <a:pt x="3" y="42"/>
                    <a:pt x="4" y="40"/>
                  </a:cubicBezTo>
                  <a:cubicBezTo>
                    <a:pt x="5" y="39"/>
                    <a:pt x="7" y="38"/>
                    <a:pt x="9" y="37"/>
                  </a:cubicBezTo>
                  <a:cubicBezTo>
                    <a:pt x="11" y="36"/>
                    <a:pt x="13" y="36"/>
                    <a:pt x="14" y="34"/>
                  </a:cubicBezTo>
                  <a:cubicBezTo>
                    <a:pt x="16" y="33"/>
                    <a:pt x="16" y="31"/>
                    <a:pt x="16" y="29"/>
                  </a:cubicBezTo>
                  <a:cubicBezTo>
                    <a:pt x="16" y="27"/>
                    <a:pt x="15" y="25"/>
                    <a:pt x="15" y="22"/>
                  </a:cubicBezTo>
                  <a:cubicBezTo>
                    <a:pt x="15" y="20"/>
                    <a:pt x="15" y="18"/>
                    <a:pt x="15" y="16"/>
                  </a:cubicBezTo>
                  <a:cubicBezTo>
                    <a:pt x="15" y="12"/>
                    <a:pt x="16" y="8"/>
                    <a:pt x="18" y="5"/>
                  </a:cubicBezTo>
                  <a:cubicBezTo>
                    <a:pt x="19" y="2"/>
                    <a:pt x="22" y="1"/>
                    <a:pt x="23" y="1"/>
                  </a:cubicBezTo>
                  <a:cubicBezTo>
                    <a:pt x="25" y="0"/>
                    <a:pt x="26" y="1"/>
                    <a:pt x="26" y="1"/>
                  </a:cubicBezTo>
                  <a:cubicBezTo>
                    <a:pt x="26" y="1"/>
                    <a:pt x="25" y="1"/>
                    <a:pt x="24" y="1"/>
                  </a:cubicBezTo>
                  <a:cubicBezTo>
                    <a:pt x="22" y="2"/>
                    <a:pt x="20" y="3"/>
                    <a:pt x="19" y="6"/>
                  </a:cubicBezTo>
                  <a:cubicBezTo>
                    <a:pt x="18" y="9"/>
                    <a:pt x="17" y="12"/>
                    <a:pt x="17" y="16"/>
                  </a:cubicBezTo>
                  <a:cubicBezTo>
                    <a:pt x="17" y="18"/>
                    <a:pt x="17" y="20"/>
                    <a:pt x="17" y="22"/>
                  </a:cubicBezTo>
                  <a:cubicBezTo>
                    <a:pt x="17" y="24"/>
                    <a:pt x="18" y="26"/>
                    <a:pt x="18" y="29"/>
                  </a:cubicBezTo>
                  <a:cubicBezTo>
                    <a:pt x="18" y="31"/>
                    <a:pt x="18" y="34"/>
                    <a:pt x="16" y="36"/>
                  </a:cubicBezTo>
                  <a:cubicBezTo>
                    <a:pt x="14" y="38"/>
                    <a:pt x="12" y="38"/>
                    <a:pt x="10" y="39"/>
                  </a:cubicBezTo>
                  <a:cubicBezTo>
                    <a:pt x="6" y="40"/>
                    <a:pt x="4" y="43"/>
                    <a:pt x="3" y="45"/>
                  </a:cubicBezTo>
                  <a:cubicBezTo>
                    <a:pt x="0" y="51"/>
                    <a:pt x="2" y="55"/>
                    <a:pt x="2" y="5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Freeform 320">
              <a:extLst>
                <a:ext uri="{FF2B5EF4-FFF2-40B4-BE49-F238E27FC236}">
                  <a16:creationId xmlns:a16="http://schemas.microsoft.com/office/drawing/2014/main" id="{CAFEC989-5A94-948C-9920-B4295C008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5" y="1389"/>
              <a:ext cx="204" cy="73"/>
            </a:xfrm>
            <a:custGeom>
              <a:avLst/>
              <a:gdLst>
                <a:gd name="T0" fmla="*/ 123 w 124"/>
                <a:gd name="T1" fmla="*/ 12 h 44"/>
                <a:gd name="T2" fmla="*/ 117 w 124"/>
                <a:gd name="T3" fmla="*/ 12 h 44"/>
                <a:gd name="T4" fmla="*/ 112 w 124"/>
                <a:gd name="T5" fmla="*/ 8 h 44"/>
                <a:gd name="T6" fmla="*/ 104 w 124"/>
                <a:gd name="T7" fmla="*/ 3 h 44"/>
                <a:gd name="T8" fmla="*/ 83 w 124"/>
                <a:gd name="T9" fmla="*/ 7 h 44"/>
                <a:gd name="T10" fmla="*/ 74 w 124"/>
                <a:gd name="T11" fmla="*/ 17 h 44"/>
                <a:gd name="T12" fmla="*/ 67 w 124"/>
                <a:gd name="T13" fmla="*/ 22 h 44"/>
                <a:gd name="T14" fmla="*/ 59 w 124"/>
                <a:gd name="T15" fmla="*/ 22 h 44"/>
                <a:gd name="T16" fmla="*/ 45 w 124"/>
                <a:gd name="T17" fmla="*/ 17 h 44"/>
                <a:gd name="T18" fmla="*/ 31 w 124"/>
                <a:gd name="T19" fmla="*/ 16 h 44"/>
                <a:gd name="T20" fmla="*/ 10 w 124"/>
                <a:gd name="T21" fmla="*/ 26 h 44"/>
                <a:gd name="T22" fmla="*/ 2 w 124"/>
                <a:gd name="T23" fmla="*/ 39 h 44"/>
                <a:gd name="T24" fmla="*/ 0 w 124"/>
                <a:gd name="T25" fmla="*/ 44 h 44"/>
                <a:gd name="T26" fmla="*/ 0 w 124"/>
                <a:gd name="T27" fmla="*/ 43 h 44"/>
                <a:gd name="T28" fmla="*/ 1 w 124"/>
                <a:gd name="T29" fmla="*/ 39 h 44"/>
                <a:gd name="T30" fmla="*/ 9 w 124"/>
                <a:gd name="T31" fmla="*/ 25 h 44"/>
                <a:gd name="T32" fmla="*/ 31 w 124"/>
                <a:gd name="T33" fmla="*/ 14 h 44"/>
                <a:gd name="T34" fmla="*/ 45 w 124"/>
                <a:gd name="T35" fmla="*/ 15 h 44"/>
                <a:gd name="T36" fmla="*/ 59 w 124"/>
                <a:gd name="T37" fmla="*/ 20 h 44"/>
                <a:gd name="T38" fmla="*/ 66 w 124"/>
                <a:gd name="T39" fmla="*/ 19 h 44"/>
                <a:gd name="T40" fmla="*/ 72 w 124"/>
                <a:gd name="T41" fmla="*/ 16 h 44"/>
                <a:gd name="T42" fmla="*/ 82 w 124"/>
                <a:gd name="T43" fmla="*/ 6 h 44"/>
                <a:gd name="T44" fmla="*/ 94 w 124"/>
                <a:gd name="T45" fmla="*/ 0 h 44"/>
                <a:gd name="T46" fmla="*/ 105 w 124"/>
                <a:gd name="T47" fmla="*/ 2 h 44"/>
                <a:gd name="T48" fmla="*/ 112 w 124"/>
                <a:gd name="T49" fmla="*/ 7 h 44"/>
                <a:gd name="T50" fmla="*/ 118 w 124"/>
                <a:gd name="T51" fmla="*/ 11 h 44"/>
                <a:gd name="T52" fmla="*/ 123 w 124"/>
                <a:gd name="T53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4" h="44">
                  <a:moveTo>
                    <a:pt x="123" y="12"/>
                  </a:moveTo>
                  <a:cubicBezTo>
                    <a:pt x="124" y="12"/>
                    <a:pt x="121" y="14"/>
                    <a:pt x="117" y="12"/>
                  </a:cubicBezTo>
                  <a:cubicBezTo>
                    <a:pt x="116" y="12"/>
                    <a:pt x="114" y="10"/>
                    <a:pt x="112" y="8"/>
                  </a:cubicBezTo>
                  <a:cubicBezTo>
                    <a:pt x="110" y="6"/>
                    <a:pt x="107" y="4"/>
                    <a:pt x="104" y="3"/>
                  </a:cubicBezTo>
                  <a:cubicBezTo>
                    <a:pt x="98" y="1"/>
                    <a:pt x="89" y="1"/>
                    <a:pt x="83" y="7"/>
                  </a:cubicBezTo>
                  <a:cubicBezTo>
                    <a:pt x="80" y="10"/>
                    <a:pt x="77" y="14"/>
                    <a:pt x="74" y="17"/>
                  </a:cubicBezTo>
                  <a:cubicBezTo>
                    <a:pt x="72" y="19"/>
                    <a:pt x="70" y="21"/>
                    <a:pt x="67" y="22"/>
                  </a:cubicBezTo>
                  <a:cubicBezTo>
                    <a:pt x="64" y="22"/>
                    <a:pt x="61" y="22"/>
                    <a:pt x="59" y="22"/>
                  </a:cubicBezTo>
                  <a:cubicBezTo>
                    <a:pt x="54" y="21"/>
                    <a:pt x="49" y="18"/>
                    <a:pt x="45" y="17"/>
                  </a:cubicBezTo>
                  <a:cubicBezTo>
                    <a:pt x="40" y="16"/>
                    <a:pt x="35" y="15"/>
                    <a:pt x="31" y="16"/>
                  </a:cubicBezTo>
                  <a:cubicBezTo>
                    <a:pt x="22" y="17"/>
                    <a:pt x="15" y="21"/>
                    <a:pt x="10" y="26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0" y="42"/>
                    <a:pt x="0" y="44"/>
                    <a:pt x="0" y="44"/>
                  </a:cubicBezTo>
                  <a:cubicBezTo>
                    <a:pt x="0" y="44"/>
                    <a:pt x="0" y="44"/>
                    <a:pt x="0" y="43"/>
                  </a:cubicBezTo>
                  <a:cubicBezTo>
                    <a:pt x="0" y="42"/>
                    <a:pt x="0" y="40"/>
                    <a:pt x="1" y="39"/>
                  </a:cubicBezTo>
                  <a:cubicBezTo>
                    <a:pt x="2" y="35"/>
                    <a:pt x="5" y="30"/>
                    <a:pt x="9" y="25"/>
                  </a:cubicBezTo>
                  <a:cubicBezTo>
                    <a:pt x="14" y="20"/>
                    <a:pt x="22" y="15"/>
                    <a:pt x="31" y="14"/>
                  </a:cubicBezTo>
                  <a:cubicBezTo>
                    <a:pt x="35" y="13"/>
                    <a:pt x="40" y="13"/>
                    <a:pt x="45" y="15"/>
                  </a:cubicBezTo>
                  <a:cubicBezTo>
                    <a:pt x="50" y="16"/>
                    <a:pt x="54" y="19"/>
                    <a:pt x="59" y="20"/>
                  </a:cubicBezTo>
                  <a:cubicBezTo>
                    <a:pt x="62" y="20"/>
                    <a:pt x="64" y="20"/>
                    <a:pt x="66" y="19"/>
                  </a:cubicBezTo>
                  <a:cubicBezTo>
                    <a:pt x="69" y="19"/>
                    <a:pt x="70" y="17"/>
                    <a:pt x="72" y="16"/>
                  </a:cubicBezTo>
                  <a:cubicBezTo>
                    <a:pt x="76" y="13"/>
                    <a:pt x="78" y="9"/>
                    <a:pt x="82" y="6"/>
                  </a:cubicBezTo>
                  <a:cubicBezTo>
                    <a:pt x="85" y="2"/>
                    <a:pt x="90" y="1"/>
                    <a:pt x="94" y="0"/>
                  </a:cubicBezTo>
                  <a:cubicBezTo>
                    <a:pt x="98" y="0"/>
                    <a:pt x="102" y="0"/>
                    <a:pt x="105" y="2"/>
                  </a:cubicBezTo>
                  <a:cubicBezTo>
                    <a:pt x="108" y="3"/>
                    <a:pt x="111" y="6"/>
                    <a:pt x="112" y="7"/>
                  </a:cubicBezTo>
                  <a:cubicBezTo>
                    <a:pt x="114" y="9"/>
                    <a:pt x="116" y="11"/>
                    <a:pt x="118" y="11"/>
                  </a:cubicBezTo>
                  <a:cubicBezTo>
                    <a:pt x="121" y="13"/>
                    <a:pt x="123" y="12"/>
                    <a:pt x="123" y="12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Freeform 321">
              <a:extLst>
                <a:ext uri="{FF2B5EF4-FFF2-40B4-BE49-F238E27FC236}">
                  <a16:creationId xmlns:a16="http://schemas.microsoft.com/office/drawing/2014/main" id="{BED5DBC6-6978-F1AB-724A-74FD0D7F5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2" y="1651"/>
              <a:ext cx="36" cy="21"/>
            </a:xfrm>
            <a:custGeom>
              <a:avLst/>
              <a:gdLst>
                <a:gd name="T0" fmla="*/ 0 w 22"/>
                <a:gd name="T1" fmla="*/ 0 h 13"/>
                <a:gd name="T2" fmla="*/ 9 w 22"/>
                <a:gd name="T3" fmla="*/ 9 h 13"/>
                <a:gd name="T4" fmla="*/ 22 w 22"/>
                <a:gd name="T5" fmla="*/ 10 h 13"/>
                <a:gd name="T6" fmla="*/ 18 w 22"/>
                <a:gd name="T7" fmla="*/ 12 h 13"/>
                <a:gd name="T8" fmla="*/ 8 w 22"/>
                <a:gd name="T9" fmla="*/ 11 h 13"/>
                <a:gd name="T10" fmla="*/ 1 w 22"/>
                <a:gd name="T11" fmla="*/ 4 h 13"/>
                <a:gd name="T12" fmla="*/ 0 w 22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3">
                  <a:moveTo>
                    <a:pt x="0" y="0"/>
                  </a:moveTo>
                  <a:cubicBezTo>
                    <a:pt x="1" y="0"/>
                    <a:pt x="3" y="6"/>
                    <a:pt x="9" y="9"/>
                  </a:cubicBezTo>
                  <a:cubicBezTo>
                    <a:pt x="15" y="11"/>
                    <a:pt x="22" y="9"/>
                    <a:pt x="22" y="10"/>
                  </a:cubicBezTo>
                  <a:cubicBezTo>
                    <a:pt x="22" y="10"/>
                    <a:pt x="21" y="11"/>
                    <a:pt x="18" y="12"/>
                  </a:cubicBezTo>
                  <a:cubicBezTo>
                    <a:pt x="16" y="13"/>
                    <a:pt x="11" y="13"/>
                    <a:pt x="8" y="11"/>
                  </a:cubicBezTo>
                  <a:cubicBezTo>
                    <a:pt x="4" y="10"/>
                    <a:pt x="1" y="7"/>
                    <a:pt x="1" y="4"/>
                  </a:cubicBezTo>
                  <a:cubicBezTo>
                    <a:pt x="0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Freeform 322">
              <a:extLst>
                <a:ext uri="{FF2B5EF4-FFF2-40B4-BE49-F238E27FC236}">
                  <a16:creationId xmlns:a16="http://schemas.microsoft.com/office/drawing/2014/main" id="{CE772FC0-DAF4-DE8E-B3AC-820C2BE8B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2641"/>
              <a:ext cx="133" cy="145"/>
            </a:xfrm>
            <a:custGeom>
              <a:avLst/>
              <a:gdLst>
                <a:gd name="T0" fmla="*/ 64 w 81"/>
                <a:gd name="T1" fmla="*/ 14 h 88"/>
                <a:gd name="T2" fmla="*/ 24 w 81"/>
                <a:gd name="T3" fmla="*/ 1 h 88"/>
                <a:gd name="T4" fmla="*/ 0 w 81"/>
                <a:gd name="T5" fmla="*/ 78 h 88"/>
                <a:gd name="T6" fmla="*/ 53 w 81"/>
                <a:gd name="T7" fmla="*/ 84 h 88"/>
                <a:gd name="T8" fmla="*/ 79 w 81"/>
                <a:gd name="T9" fmla="*/ 53 h 88"/>
                <a:gd name="T10" fmla="*/ 64 w 81"/>
                <a:gd name="T11" fmla="*/ 1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88">
                  <a:moveTo>
                    <a:pt x="64" y="14"/>
                  </a:moveTo>
                  <a:cubicBezTo>
                    <a:pt x="53" y="4"/>
                    <a:pt x="38" y="0"/>
                    <a:pt x="24" y="1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8" y="79"/>
                    <a:pt x="35" y="88"/>
                    <a:pt x="53" y="84"/>
                  </a:cubicBezTo>
                  <a:cubicBezTo>
                    <a:pt x="67" y="80"/>
                    <a:pt x="77" y="67"/>
                    <a:pt x="79" y="53"/>
                  </a:cubicBezTo>
                  <a:cubicBezTo>
                    <a:pt x="81" y="38"/>
                    <a:pt x="75" y="23"/>
                    <a:pt x="64" y="14"/>
                  </a:cubicBezTo>
                  <a:close/>
                </a:path>
              </a:pathLst>
            </a:custGeom>
            <a:solidFill>
              <a:srgbClr val="EAD6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Freeform 323">
              <a:extLst>
                <a:ext uri="{FF2B5EF4-FFF2-40B4-BE49-F238E27FC236}">
                  <a16:creationId xmlns:a16="http://schemas.microsoft.com/office/drawing/2014/main" id="{B1BFA454-4521-BE95-0E70-BE7BA7125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1" y="2637"/>
              <a:ext cx="135" cy="154"/>
            </a:xfrm>
            <a:custGeom>
              <a:avLst/>
              <a:gdLst>
                <a:gd name="T0" fmla="*/ 20 w 82"/>
                <a:gd name="T1" fmla="*/ 1 h 93"/>
                <a:gd name="T2" fmla="*/ 28 w 82"/>
                <a:gd name="T3" fmla="*/ 0 h 93"/>
                <a:gd name="T4" fmla="*/ 48 w 82"/>
                <a:gd name="T5" fmla="*/ 3 h 93"/>
                <a:gd name="T6" fmla="*/ 72 w 82"/>
                <a:gd name="T7" fmla="*/ 22 h 93"/>
                <a:gd name="T8" fmla="*/ 80 w 82"/>
                <a:gd name="T9" fmla="*/ 39 h 93"/>
                <a:gd name="T10" fmla="*/ 81 w 82"/>
                <a:gd name="T11" fmla="*/ 60 h 93"/>
                <a:gd name="T12" fmla="*/ 72 w 82"/>
                <a:gd name="T13" fmla="*/ 78 h 93"/>
                <a:gd name="T14" fmla="*/ 56 w 82"/>
                <a:gd name="T15" fmla="*/ 89 h 93"/>
                <a:gd name="T16" fmla="*/ 26 w 82"/>
                <a:gd name="T17" fmla="*/ 91 h 93"/>
                <a:gd name="T18" fmla="*/ 6 w 82"/>
                <a:gd name="T19" fmla="*/ 85 h 93"/>
                <a:gd name="T20" fmla="*/ 0 w 82"/>
                <a:gd name="T21" fmla="*/ 81 h 93"/>
                <a:gd name="T22" fmla="*/ 7 w 82"/>
                <a:gd name="T23" fmla="*/ 82 h 93"/>
                <a:gd name="T24" fmla="*/ 27 w 82"/>
                <a:gd name="T25" fmla="*/ 85 h 93"/>
                <a:gd name="T26" fmla="*/ 53 w 82"/>
                <a:gd name="T27" fmla="*/ 81 h 93"/>
                <a:gd name="T28" fmla="*/ 65 w 82"/>
                <a:gd name="T29" fmla="*/ 72 h 93"/>
                <a:gd name="T30" fmla="*/ 72 w 82"/>
                <a:gd name="T31" fmla="*/ 58 h 93"/>
                <a:gd name="T32" fmla="*/ 65 w 82"/>
                <a:gd name="T33" fmla="*/ 27 h 93"/>
                <a:gd name="T34" fmla="*/ 45 w 82"/>
                <a:gd name="T35" fmla="*/ 10 h 93"/>
                <a:gd name="T36" fmla="*/ 27 w 82"/>
                <a:gd name="T37" fmla="*/ 3 h 93"/>
                <a:gd name="T38" fmla="*/ 20 w 82"/>
                <a:gd name="T3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2" h="93">
                  <a:moveTo>
                    <a:pt x="20" y="1"/>
                  </a:moveTo>
                  <a:cubicBezTo>
                    <a:pt x="21" y="0"/>
                    <a:pt x="23" y="0"/>
                    <a:pt x="28" y="0"/>
                  </a:cubicBezTo>
                  <a:cubicBezTo>
                    <a:pt x="33" y="0"/>
                    <a:pt x="40" y="0"/>
                    <a:pt x="48" y="3"/>
                  </a:cubicBezTo>
                  <a:cubicBezTo>
                    <a:pt x="56" y="7"/>
                    <a:pt x="65" y="13"/>
                    <a:pt x="72" y="22"/>
                  </a:cubicBezTo>
                  <a:cubicBezTo>
                    <a:pt x="76" y="27"/>
                    <a:pt x="79" y="33"/>
                    <a:pt x="80" y="39"/>
                  </a:cubicBezTo>
                  <a:cubicBezTo>
                    <a:pt x="82" y="46"/>
                    <a:pt x="82" y="53"/>
                    <a:pt x="81" y="60"/>
                  </a:cubicBezTo>
                  <a:cubicBezTo>
                    <a:pt x="80" y="67"/>
                    <a:pt x="77" y="73"/>
                    <a:pt x="72" y="78"/>
                  </a:cubicBezTo>
                  <a:cubicBezTo>
                    <a:pt x="68" y="83"/>
                    <a:pt x="62" y="87"/>
                    <a:pt x="56" y="89"/>
                  </a:cubicBezTo>
                  <a:cubicBezTo>
                    <a:pt x="45" y="93"/>
                    <a:pt x="34" y="93"/>
                    <a:pt x="26" y="91"/>
                  </a:cubicBezTo>
                  <a:cubicBezTo>
                    <a:pt x="17" y="90"/>
                    <a:pt x="11" y="87"/>
                    <a:pt x="6" y="85"/>
                  </a:cubicBezTo>
                  <a:cubicBezTo>
                    <a:pt x="2" y="83"/>
                    <a:pt x="0" y="82"/>
                    <a:pt x="0" y="81"/>
                  </a:cubicBezTo>
                  <a:cubicBezTo>
                    <a:pt x="0" y="81"/>
                    <a:pt x="3" y="81"/>
                    <a:pt x="7" y="82"/>
                  </a:cubicBezTo>
                  <a:cubicBezTo>
                    <a:pt x="12" y="82"/>
                    <a:pt x="19" y="84"/>
                    <a:pt x="27" y="85"/>
                  </a:cubicBezTo>
                  <a:cubicBezTo>
                    <a:pt x="34" y="85"/>
                    <a:pt x="44" y="85"/>
                    <a:pt x="53" y="81"/>
                  </a:cubicBezTo>
                  <a:cubicBezTo>
                    <a:pt x="58" y="79"/>
                    <a:pt x="62" y="76"/>
                    <a:pt x="65" y="72"/>
                  </a:cubicBezTo>
                  <a:cubicBezTo>
                    <a:pt x="68" y="68"/>
                    <a:pt x="71" y="63"/>
                    <a:pt x="72" y="58"/>
                  </a:cubicBezTo>
                  <a:cubicBezTo>
                    <a:pt x="74" y="47"/>
                    <a:pt x="71" y="36"/>
                    <a:pt x="65" y="27"/>
                  </a:cubicBezTo>
                  <a:cubicBezTo>
                    <a:pt x="60" y="19"/>
                    <a:pt x="52" y="13"/>
                    <a:pt x="45" y="10"/>
                  </a:cubicBezTo>
                  <a:cubicBezTo>
                    <a:pt x="38" y="6"/>
                    <a:pt x="32" y="5"/>
                    <a:pt x="27" y="3"/>
                  </a:cubicBezTo>
                  <a:cubicBezTo>
                    <a:pt x="23" y="2"/>
                    <a:pt x="20" y="1"/>
                    <a:pt x="20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Freeform 324">
              <a:extLst>
                <a:ext uri="{FF2B5EF4-FFF2-40B4-BE49-F238E27FC236}">
                  <a16:creationId xmlns:a16="http://schemas.microsoft.com/office/drawing/2014/main" id="{DF65EEED-8931-BB47-D4F4-3C366B33A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3120"/>
              <a:ext cx="315" cy="356"/>
            </a:xfrm>
            <a:custGeom>
              <a:avLst/>
              <a:gdLst>
                <a:gd name="T0" fmla="*/ 54 w 191"/>
                <a:gd name="T1" fmla="*/ 0 h 216"/>
                <a:gd name="T2" fmla="*/ 0 w 191"/>
                <a:gd name="T3" fmla="*/ 149 h 216"/>
                <a:gd name="T4" fmla="*/ 186 w 191"/>
                <a:gd name="T5" fmla="*/ 216 h 216"/>
                <a:gd name="T6" fmla="*/ 108 w 191"/>
                <a:gd name="T7" fmla="*/ 128 h 216"/>
                <a:gd name="T8" fmla="*/ 146 w 191"/>
                <a:gd name="T9" fmla="*/ 33 h 216"/>
                <a:gd name="T10" fmla="*/ 54 w 191"/>
                <a:gd name="T1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216">
                  <a:moveTo>
                    <a:pt x="54" y="0"/>
                  </a:moveTo>
                  <a:cubicBezTo>
                    <a:pt x="0" y="149"/>
                    <a:pt x="0" y="149"/>
                    <a:pt x="0" y="149"/>
                  </a:cubicBezTo>
                  <a:cubicBezTo>
                    <a:pt x="186" y="216"/>
                    <a:pt x="186" y="216"/>
                    <a:pt x="186" y="216"/>
                  </a:cubicBezTo>
                  <a:cubicBezTo>
                    <a:pt x="191" y="198"/>
                    <a:pt x="108" y="128"/>
                    <a:pt x="108" y="128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EAD6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Freeform 325">
              <a:extLst>
                <a:ext uri="{FF2B5EF4-FFF2-40B4-BE49-F238E27FC236}">
                  <a16:creationId xmlns:a16="http://schemas.microsoft.com/office/drawing/2014/main" id="{3F9B58A8-FDDA-C021-24A8-FD3762B03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" y="3283"/>
              <a:ext cx="26" cy="25"/>
            </a:xfrm>
            <a:custGeom>
              <a:avLst/>
              <a:gdLst>
                <a:gd name="T0" fmla="*/ 9 w 16"/>
                <a:gd name="T1" fmla="*/ 0 h 15"/>
                <a:gd name="T2" fmla="*/ 8 w 16"/>
                <a:gd name="T3" fmla="*/ 0 h 15"/>
                <a:gd name="T4" fmla="*/ 8 w 16"/>
                <a:gd name="T5" fmla="*/ 0 h 15"/>
                <a:gd name="T6" fmla="*/ 0 w 16"/>
                <a:gd name="T7" fmla="*/ 6 h 15"/>
                <a:gd name="T8" fmla="*/ 7 w 16"/>
                <a:gd name="T9" fmla="*/ 15 h 15"/>
                <a:gd name="T10" fmla="*/ 8 w 16"/>
                <a:gd name="T11" fmla="*/ 15 h 15"/>
                <a:gd name="T12" fmla="*/ 16 w 16"/>
                <a:gd name="T13" fmla="*/ 8 h 15"/>
                <a:gd name="T14" fmla="*/ 9 w 16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5">
                  <a:moveTo>
                    <a:pt x="9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1" y="3"/>
                    <a:pt x="0" y="6"/>
                  </a:cubicBezTo>
                  <a:cubicBezTo>
                    <a:pt x="0" y="10"/>
                    <a:pt x="3" y="14"/>
                    <a:pt x="7" y="15"/>
                  </a:cubicBezTo>
                  <a:cubicBezTo>
                    <a:pt x="7" y="15"/>
                    <a:pt x="7" y="15"/>
                    <a:pt x="8" y="15"/>
                  </a:cubicBezTo>
                  <a:cubicBezTo>
                    <a:pt x="11" y="15"/>
                    <a:pt x="16" y="11"/>
                    <a:pt x="16" y="8"/>
                  </a:cubicBezTo>
                  <a:cubicBezTo>
                    <a:pt x="16" y="4"/>
                    <a:pt x="12" y="0"/>
                    <a:pt x="9" y="0"/>
                  </a:cubicBezTo>
                </a:path>
              </a:pathLst>
            </a:custGeom>
            <a:solidFill>
              <a:srgbClr val="FFC7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Freeform 326">
              <a:extLst>
                <a:ext uri="{FF2B5EF4-FFF2-40B4-BE49-F238E27FC236}">
                  <a16:creationId xmlns:a16="http://schemas.microsoft.com/office/drawing/2014/main" id="{F4FC72DE-703F-E512-54E7-734D20550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3341"/>
              <a:ext cx="312" cy="135"/>
            </a:xfrm>
            <a:custGeom>
              <a:avLst/>
              <a:gdLst>
                <a:gd name="T0" fmla="*/ 0 w 189"/>
                <a:gd name="T1" fmla="*/ 15 h 82"/>
                <a:gd name="T2" fmla="*/ 6 w 189"/>
                <a:gd name="T3" fmla="*/ 0 h 82"/>
                <a:gd name="T4" fmla="*/ 182 w 189"/>
                <a:gd name="T5" fmla="*/ 70 h 82"/>
                <a:gd name="T6" fmla="*/ 186 w 189"/>
                <a:gd name="T7" fmla="*/ 82 h 82"/>
                <a:gd name="T8" fmla="*/ 0 w 189"/>
                <a:gd name="T9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82">
                  <a:moveTo>
                    <a:pt x="0" y="15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182" y="70"/>
                    <a:pt x="182" y="70"/>
                    <a:pt x="182" y="70"/>
                  </a:cubicBezTo>
                  <a:cubicBezTo>
                    <a:pt x="182" y="70"/>
                    <a:pt x="189" y="76"/>
                    <a:pt x="186" y="82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Freeform 327">
              <a:extLst>
                <a:ext uri="{FF2B5EF4-FFF2-40B4-BE49-F238E27FC236}">
                  <a16:creationId xmlns:a16="http://schemas.microsoft.com/office/drawing/2014/main" id="{ECCE90AC-B635-639F-D162-4D12B6B52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1" y="3324"/>
              <a:ext cx="36" cy="15"/>
            </a:xfrm>
            <a:custGeom>
              <a:avLst/>
              <a:gdLst>
                <a:gd name="T0" fmla="*/ 21 w 22"/>
                <a:gd name="T1" fmla="*/ 4 h 9"/>
                <a:gd name="T2" fmla="*/ 11 w 22"/>
                <a:gd name="T3" fmla="*/ 5 h 9"/>
                <a:gd name="T4" fmla="*/ 1 w 22"/>
                <a:gd name="T5" fmla="*/ 8 h 9"/>
                <a:gd name="T6" fmla="*/ 10 w 22"/>
                <a:gd name="T7" fmla="*/ 1 h 9"/>
                <a:gd name="T8" fmla="*/ 21 w 22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9">
                  <a:moveTo>
                    <a:pt x="21" y="4"/>
                  </a:moveTo>
                  <a:cubicBezTo>
                    <a:pt x="21" y="5"/>
                    <a:pt x="16" y="3"/>
                    <a:pt x="11" y="5"/>
                  </a:cubicBezTo>
                  <a:cubicBezTo>
                    <a:pt x="5" y="6"/>
                    <a:pt x="2" y="9"/>
                    <a:pt x="1" y="8"/>
                  </a:cubicBezTo>
                  <a:cubicBezTo>
                    <a:pt x="0" y="8"/>
                    <a:pt x="3" y="3"/>
                    <a:pt x="10" y="1"/>
                  </a:cubicBezTo>
                  <a:cubicBezTo>
                    <a:pt x="17" y="0"/>
                    <a:pt x="22" y="3"/>
                    <a:pt x="21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Freeform 328">
              <a:extLst>
                <a:ext uri="{FF2B5EF4-FFF2-40B4-BE49-F238E27FC236}">
                  <a16:creationId xmlns:a16="http://schemas.microsoft.com/office/drawing/2014/main" id="{0E20F0C9-4F5A-7E33-1F72-DA5C7D3F6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4" y="3350"/>
              <a:ext cx="29" cy="22"/>
            </a:xfrm>
            <a:custGeom>
              <a:avLst/>
              <a:gdLst>
                <a:gd name="T0" fmla="*/ 18 w 18"/>
                <a:gd name="T1" fmla="*/ 3 h 13"/>
                <a:gd name="T2" fmla="*/ 9 w 18"/>
                <a:gd name="T3" fmla="*/ 7 h 13"/>
                <a:gd name="T4" fmla="*/ 1 w 18"/>
                <a:gd name="T5" fmla="*/ 13 h 13"/>
                <a:gd name="T6" fmla="*/ 7 w 18"/>
                <a:gd name="T7" fmla="*/ 4 h 13"/>
                <a:gd name="T8" fmla="*/ 18 w 18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3">
                  <a:moveTo>
                    <a:pt x="18" y="3"/>
                  </a:moveTo>
                  <a:cubicBezTo>
                    <a:pt x="18" y="4"/>
                    <a:pt x="13" y="4"/>
                    <a:pt x="9" y="7"/>
                  </a:cubicBezTo>
                  <a:cubicBezTo>
                    <a:pt x="4" y="9"/>
                    <a:pt x="2" y="13"/>
                    <a:pt x="1" y="13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3" y="0"/>
                    <a:pt x="18" y="2"/>
                    <a:pt x="18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Freeform 329">
              <a:extLst>
                <a:ext uri="{FF2B5EF4-FFF2-40B4-BE49-F238E27FC236}">
                  <a16:creationId xmlns:a16="http://schemas.microsoft.com/office/drawing/2014/main" id="{4E2CFED7-22F9-555A-0DE5-6D8D2C405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6" y="3377"/>
              <a:ext cx="24" cy="23"/>
            </a:xfrm>
            <a:custGeom>
              <a:avLst/>
              <a:gdLst>
                <a:gd name="T0" fmla="*/ 1 w 14"/>
                <a:gd name="T1" fmla="*/ 14 h 14"/>
                <a:gd name="T2" fmla="*/ 4 w 14"/>
                <a:gd name="T3" fmla="*/ 5 h 14"/>
                <a:gd name="T4" fmla="*/ 13 w 14"/>
                <a:gd name="T5" fmla="*/ 1 h 14"/>
                <a:gd name="T6" fmla="*/ 7 w 14"/>
                <a:gd name="T7" fmla="*/ 7 h 14"/>
                <a:gd name="T8" fmla="*/ 1 w 14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" y="14"/>
                  </a:moveTo>
                  <a:cubicBezTo>
                    <a:pt x="0" y="14"/>
                    <a:pt x="0" y="9"/>
                    <a:pt x="4" y="5"/>
                  </a:cubicBezTo>
                  <a:cubicBezTo>
                    <a:pt x="8" y="1"/>
                    <a:pt x="13" y="0"/>
                    <a:pt x="13" y="1"/>
                  </a:cubicBezTo>
                  <a:cubicBezTo>
                    <a:pt x="14" y="2"/>
                    <a:pt x="10" y="4"/>
                    <a:pt x="7" y="7"/>
                  </a:cubicBezTo>
                  <a:cubicBezTo>
                    <a:pt x="3" y="11"/>
                    <a:pt x="1" y="14"/>
                    <a:pt x="1" y="1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Freeform 330">
              <a:extLst>
                <a:ext uri="{FF2B5EF4-FFF2-40B4-BE49-F238E27FC236}">
                  <a16:creationId xmlns:a16="http://schemas.microsoft.com/office/drawing/2014/main" id="{F34CE723-EC9D-39E6-8B51-03C985C84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4" y="3280"/>
              <a:ext cx="33" cy="14"/>
            </a:xfrm>
            <a:custGeom>
              <a:avLst/>
              <a:gdLst>
                <a:gd name="T0" fmla="*/ 20 w 20"/>
                <a:gd name="T1" fmla="*/ 8 h 9"/>
                <a:gd name="T2" fmla="*/ 10 w 20"/>
                <a:gd name="T3" fmla="*/ 5 h 9"/>
                <a:gd name="T4" fmla="*/ 0 w 20"/>
                <a:gd name="T5" fmla="*/ 2 h 9"/>
                <a:gd name="T6" fmla="*/ 11 w 20"/>
                <a:gd name="T7" fmla="*/ 1 h 9"/>
                <a:gd name="T8" fmla="*/ 20 w 2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9">
                  <a:moveTo>
                    <a:pt x="20" y="8"/>
                  </a:moveTo>
                  <a:cubicBezTo>
                    <a:pt x="19" y="9"/>
                    <a:pt x="15" y="6"/>
                    <a:pt x="10" y="5"/>
                  </a:cubicBezTo>
                  <a:cubicBezTo>
                    <a:pt x="5" y="3"/>
                    <a:pt x="0" y="3"/>
                    <a:pt x="0" y="2"/>
                  </a:cubicBezTo>
                  <a:cubicBezTo>
                    <a:pt x="0" y="2"/>
                    <a:pt x="5" y="0"/>
                    <a:pt x="11" y="1"/>
                  </a:cubicBezTo>
                  <a:cubicBezTo>
                    <a:pt x="17" y="3"/>
                    <a:pt x="20" y="8"/>
                    <a:pt x="2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Freeform 331">
              <a:extLst>
                <a:ext uri="{FF2B5EF4-FFF2-40B4-BE49-F238E27FC236}">
                  <a16:creationId xmlns:a16="http://schemas.microsoft.com/office/drawing/2014/main" id="{71BF6DD0-A088-702B-D8C8-4C7FABBA5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" y="3215"/>
              <a:ext cx="41" cy="40"/>
            </a:xfrm>
            <a:custGeom>
              <a:avLst/>
              <a:gdLst>
                <a:gd name="T0" fmla="*/ 25 w 25"/>
                <a:gd name="T1" fmla="*/ 24 h 24"/>
                <a:gd name="T2" fmla="*/ 16 w 25"/>
                <a:gd name="T3" fmla="*/ 20 h 24"/>
                <a:gd name="T4" fmla="*/ 7 w 25"/>
                <a:gd name="T5" fmla="*/ 14 h 24"/>
                <a:gd name="T6" fmla="*/ 3 w 25"/>
                <a:gd name="T7" fmla="*/ 9 h 24"/>
                <a:gd name="T8" fmla="*/ 1 w 25"/>
                <a:gd name="T9" fmla="*/ 6 h 24"/>
                <a:gd name="T10" fmla="*/ 2 w 25"/>
                <a:gd name="T11" fmla="*/ 1 h 24"/>
                <a:gd name="T12" fmla="*/ 7 w 25"/>
                <a:gd name="T13" fmla="*/ 0 h 24"/>
                <a:gd name="T14" fmla="*/ 10 w 25"/>
                <a:gd name="T15" fmla="*/ 2 h 24"/>
                <a:gd name="T16" fmla="*/ 15 w 25"/>
                <a:gd name="T17" fmla="*/ 6 h 24"/>
                <a:gd name="T18" fmla="*/ 22 w 25"/>
                <a:gd name="T19" fmla="*/ 15 h 24"/>
                <a:gd name="T20" fmla="*/ 25 w 25"/>
                <a:gd name="T21" fmla="*/ 24 h 24"/>
                <a:gd name="T22" fmla="*/ 20 w 25"/>
                <a:gd name="T23" fmla="*/ 16 h 24"/>
                <a:gd name="T24" fmla="*/ 13 w 25"/>
                <a:gd name="T25" fmla="*/ 8 h 24"/>
                <a:gd name="T26" fmla="*/ 9 w 25"/>
                <a:gd name="T27" fmla="*/ 5 h 24"/>
                <a:gd name="T28" fmla="*/ 4 w 25"/>
                <a:gd name="T29" fmla="*/ 4 h 24"/>
                <a:gd name="T30" fmla="*/ 4 w 25"/>
                <a:gd name="T31" fmla="*/ 5 h 24"/>
                <a:gd name="T32" fmla="*/ 6 w 25"/>
                <a:gd name="T33" fmla="*/ 7 h 24"/>
                <a:gd name="T34" fmla="*/ 10 w 25"/>
                <a:gd name="T35" fmla="*/ 12 h 24"/>
                <a:gd name="T36" fmla="*/ 17 w 25"/>
                <a:gd name="T37" fmla="*/ 18 h 24"/>
                <a:gd name="T38" fmla="*/ 25 w 25"/>
                <a:gd name="T3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24">
                  <a:moveTo>
                    <a:pt x="25" y="24"/>
                  </a:moveTo>
                  <a:cubicBezTo>
                    <a:pt x="25" y="24"/>
                    <a:pt x="21" y="23"/>
                    <a:pt x="16" y="20"/>
                  </a:cubicBezTo>
                  <a:cubicBezTo>
                    <a:pt x="13" y="19"/>
                    <a:pt x="10" y="17"/>
                    <a:pt x="7" y="14"/>
                  </a:cubicBezTo>
                  <a:cubicBezTo>
                    <a:pt x="6" y="12"/>
                    <a:pt x="4" y="11"/>
                    <a:pt x="3" y="9"/>
                  </a:cubicBezTo>
                  <a:cubicBezTo>
                    <a:pt x="2" y="8"/>
                    <a:pt x="2" y="7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0"/>
                    <a:pt x="7" y="0"/>
                  </a:cubicBezTo>
                  <a:cubicBezTo>
                    <a:pt x="8" y="1"/>
                    <a:pt x="9" y="1"/>
                    <a:pt x="10" y="2"/>
                  </a:cubicBezTo>
                  <a:cubicBezTo>
                    <a:pt x="12" y="3"/>
                    <a:pt x="14" y="5"/>
                    <a:pt x="15" y="6"/>
                  </a:cubicBezTo>
                  <a:cubicBezTo>
                    <a:pt x="18" y="9"/>
                    <a:pt x="21" y="12"/>
                    <a:pt x="22" y="15"/>
                  </a:cubicBezTo>
                  <a:cubicBezTo>
                    <a:pt x="25" y="20"/>
                    <a:pt x="25" y="24"/>
                    <a:pt x="25" y="24"/>
                  </a:cubicBezTo>
                  <a:cubicBezTo>
                    <a:pt x="24" y="24"/>
                    <a:pt x="23" y="21"/>
                    <a:pt x="20" y="16"/>
                  </a:cubicBezTo>
                  <a:cubicBezTo>
                    <a:pt x="18" y="14"/>
                    <a:pt x="16" y="11"/>
                    <a:pt x="13" y="8"/>
                  </a:cubicBezTo>
                  <a:cubicBezTo>
                    <a:pt x="12" y="7"/>
                    <a:pt x="10" y="6"/>
                    <a:pt x="9" y="5"/>
                  </a:cubicBezTo>
                  <a:cubicBezTo>
                    <a:pt x="7" y="3"/>
                    <a:pt x="5" y="3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5" y="6"/>
                    <a:pt x="6" y="7"/>
                  </a:cubicBezTo>
                  <a:cubicBezTo>
                    <a:pt x="7" y="9"/>
                    <a:pt x="8" y="10"/>
                    <a:pt x="10" y="12"/>
                  </a:cubicBezTo>
                  <a:cubicBezTo>
                    <a:pt x="12" y="14"/>
                    <a:pt x="15" y="17"/>
                    <a:pt x="17" y="18"/>
                  </a:cubicBezTo>
                  <a:cubicBezTo>
                    <a:pt x="22" y="22"/>
                    <a:pt x="25" y="23"/>
                    <a:pt x="25" y="2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Freeform 332">
              <a:extLst>
                <a:ext uri="{FF2B5EF4-FFF2-40B4-BE49-F238E27FC236}">
                  <a16:creationId xmlns:a16="http://schemas.microsoft.com/office/drawing/2014/main" id="{B6ECEF69-EBC5-4DCB-244F-081E58025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" y="3211"/>
              <a:ext cx="35" cy="46"/>
            </a:xfrm>
            <a:custGeom>
              <a:avLst/>
              <a:gdLst>
                <a:gd name="T0" fmla="*/ 1 w 21"/>
                <a:gd name="T1" fmla="*/ 28 h 28"/>
                <a:gd name="T2" fmla="*/ 1 w 21"/>
                <a:gd name="T3" fmla="*/ 18 h 28"/>
                <a:gd name="T4" fmla="*/ 6 w 21"/>
                <a:gd name="T5" fmla="*/ 8 h 28"/>
                <a:gd name="T6" fmla="*/ 11 w 21"/>
                <a:gd name="T7" fmla="*/ 3 h 28"/>
                <a:gd name="T8" fmla="*/ 18 w 21"/>
                <a:gd name="T9" fmla="*/ 1 h 28"/>
                <a:gd name="T10" fmla="*/ 21 w 21"/>
                <a:gd name="T11" fmla="*/ 5 h 28"/>
                <a:gd name="T12" fmla="*/ 21 w 21"/>
                <a:gd name="T13" fmla="*/ 8 h 28"/>
                <a:gd name="T14" fmla="*/ 19 w 21"/>
                <a:gd name="T15" fmla="*/ 15 h 28"/>
                <a:gd name="T16" fmla="*/ 11 w 21"/>
                <a:gd name="T17" fmla="*/ 23 h 28"/>
                <a:gd name="T18" fmla="*/ 2 w 21"/>
                <a:gd name="T19" fmla="*/ 26 h 28"/>
                <a:gd name="T20" fmla="*/ 10 w 21"/>
                <a:gd name="T21" fmla="*/ 21 h 28"/>
                <a:gd name="T22" fmla="*/ 16 w 21"/>
                <a:gd name="T23" fmla="*/ 13 h 28"/>
                <a:gd name="T24" fmla="*/ 18 w 21"/>
                <a:gd name="T25" fmla="*/ 8 h 28"/>
                <a:gd name="T26" fmla="*/ 17 w 21"/>
                <a:gd name="T27" fmla="*/ 4 h 28"/>
                <a:gd name="T28" fmla="*/ 13 w 21"/>
                <a:gd name="T29" fmla="*/ 6 h 28"/>
                <a:gd name="T30" fmla="*/ 9 w 21"/>
                <a:gd name="T31" fmla="*/ 10 h 28"/>
                <a:gd name="T32" fmla="*/ 4 w 21"/>
                <a:gd name="T33" fmla="*/ 18 h 28"/>
                <a:gd name="T34" fmla="*/ 1 w 21"/>
                <a:gd name="T3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28">
                  <a:moveTo>
                    <a:pt x="1" y="28"/>
                  </a:moveTo>
                  <a:cubicBezTo>
                    <a:pt x="0" y="28"/>
                    <a:pt x="0" y="24"/>
                    <a:pt x="1" y="18"/>
                  </a:cubicBezTo>
                  <a:cubicBezTo>
                    <a:pt x="2" y="15"/>
                    <a:pt x="4" y="11"/>
                    <a:pt x="6" y="8"/>
                  </a:cubicBezTo>
                  <a:cubicBezTo>
                    <a:pt x="8" y="6"/>
                    <a:pt x="9" y="5"/>
                    <a:pt x="11" y="3"/>
                  </a:cubicBezTo>
                  <a:cubicBezTo>
                    <a:pt x="13" y="2"/>
                    <a:pt x="15" y="0"/>
                    <a:pt x="18" y="1"/>
                  </a:cubicBezTo>
                  <a:cubicBezTo>
                    <a:pt x="20" y="1"/>
                    <a:pt x="21" y="3"/>
                    <a:pt x="21" y="5"/>
                  </a:cubicBezTo>
                  <a:cubicBezTo>
                    <a:pt x="21" y="6"/>
                    <a:pt x="21" y="7"/>
                    <a:pt x="21" y="8"/>
                  </a:cubicBezTo>
                  <a:cubicBezTo>
                    <a:pt x="21" y="11"/>
                    <a:pt x="20" y="13"/>
                    <a:pt x="19" y="15"/>
                  </a:cubicBezTo>
                  <a:cubicBezTo>
                    <a:pt x="17" y="18"/>
                    <a:pt x="14" y="21"/>
                    <a:pt x="11" y="23"/>
                  </a:cubicBezTo>
                  <a:cubicBezTo>
                    <a:pt x="6" y="26"/>
                    <a:pt x="2" y="26"/>
                    <a:pt x="2" y="26"/>
                  </a:cubicBezTo>
                  <a:cubicBezTo>
                    <a:pt x="2" y="25"/>
                    <a:pt x="5" y="25"/>
                    <a:pt x="10" y="21"/>
                  </a:cubicBezTo>
                  <a:cubicBezTo>
                    <a:pt x="12" y="19"/>
                    <a:pt x="14" y="17"/>
                    <a:pt x="16" y="13"/>
                  </a:cubicBezTo>
                  <a:cubicBezTo>
                    <a:pt x="17" y="12"/>
                    <a:pt x="17" y="10"/>
                    <a:pt x="18" y="8"/>
                  </a:cubicBezTo>
                  <a:cubicBezTo>
                    <a:pt x="18" y="6"/>
                    <a:pt x="18" y="4"/>
                    <a:pt x="17" y="4"/>
                  </a:cubicBezTo>
                  <a:cubicBezTo>
                    <a:pt x="16" y="3"/>
                    <a:pt x="14" y="4"/>
                    <a:pt x="13" y="6"/>
                  </a:cubicBezTo>
                  <a:cubicBezTo>
                    <a:pt x="11" y="7"/>
                    <a:pt x="10" y="8"/>
                    <a:pt x="9" y="10"/>
                  </a:cubicBezTo>
                  <a:cubicBezTo>
                    <a:pt x="6" y="13"/>
                    <a:pt x="5" y="16"/>
                    <a:pt x="4" y="18"/>
                  </a:cubicBezTo>
                  <a:cubicBezTo>
                    <a:pt x="1" y="24"/>
                    <a:pt x="1" y="28"/>
                    <a:pt x="1" y="2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Freeform 333">
              <a:extLst>
                <a:ext uri="{FF2B5EF4-FFF2-40B4-BE49-F238E27FC236}">
                  <a16:creationId xmlns:a16="http://schemas.microsoft.com/office/drawing/2014/main" id="{DE449B5C-263E-5B85-CE54-D9A9F60FE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1" y="2456"/>
              <a:ext cx="662" cy="312"/>
            </a:xfrm>
            <a:custGeom>
              <a:avLst/>
              <a:gdLst>
                <a:gd name="T0" fmla="*/ 136 w 402"/>
                <a:gd name="T1" fmla="*/ 4 h 189"/>
                <a:gd name="T2" fmla="*/ 62 w 402"/>
                <a:gd name="T3" fmla="*/ 29 h 189"/>
                <a:gd name="T4" fmla="*/ 3 w 402"/>
                <a:gd name="T5" fmla="*/ 121 h 189"/>
                <a:gd name="T6" fmla="*/ 42 w 402"/>
                <a:gd name="T7" fmla="*/ 183 h 189"/>
                <a:gd name="T8" fmla="*/ 67 w 402"/>
                <a:gd name="T9" fmla="*/ 189 h 189"/>
                <a:gd name="T10" fmla="*/ 392 w 402"/>
                <a:gd name="T11" fmla="*/ 186 h 189"/>
                <a:gd name="T12" fmla="*/ 402 w 402"/>
                <a:gd name="T13" fmla="*/ 131 h 189"/>
                <a:gd name="T14" fmla="*/ 192 w 402"/>
                <a:gd name="T15" fmla="*/ 80 h 189"/>
                <a:gd name="T16" fmla="*/ 201 w 402"/>
                <a:gd name="T17" fmla="*/ 0 h 189"/>
                <a:gd name="T18" fmla="*/ 136 w 402"/>
                <a:gd name="T19" fmla="*/ 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189">
                  <a:moveTo>
                    <a:pt x="136" y="4"/>
                  </a:moveTo>
                  <a:cubicBezTo>
                    <a:pt x="108" y="5"/>
                    <a:pt x="81" y="9"/>
                    <a:pt x="62" y="29"/>
                  </a:cubicBezTo>
                  <a:cubicBezTo>
                    <a:pt x="36" y="56"/>
                    <a:pt x="5" y="95"/>
                    <a:pt x="3" y="121"/>
                  </a:cubicBezTo>
                  <a:cubicBezTo>
                    <a:pt x="0" y="161"/>
                    <a:pt x="24" y="173"/>
                    <a:pt x="42" y="183"/>
                  </a:cubicBezTo>
                  <a:cubicBezTo>
                    <a:pt x="50" y="187"/>
                    <a:pt x="58" y="189"/>
                    <a:pt x="67" y="189"/>
                  </a:cubicBezTo>
                  <a:cubicBezTo>
                    <a:pt x="392" y="186"/>
                    <a:pt x="392" y="186"/>
                    <a:pt x="392" y="186"/>
                  </a:cubicBezTo>
                  <a:cubicBezTo>
                    <a:pt x="402" y="131"/>
                    <a:pt x="402" y="131"/>
                    <a:pt x="402" y="131"/>
                  </a:cubicBezTo>
                  <a:cubicBezTo>
                    <a:pt x="192" y="80"/>
                    <a:pt x="192" y="80"/>
                    <a:pt x="192" y="80"/>
                  </a:cubicBezTo>
                  <a:cubicBezTo>
                    <a:pt x="201" y="0"/>
                    <a:pt x="201" y="0"/>
                    <a:pt x="201" y="0"/>
                  </a:cubicBezTo>
                  <a:lnTo>
                    <a:pt x="136" y="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Freeform 334">
              <a:extLst>
                <a:ext uri="{FF2B5EF4-FFF2-40B4-BE49-F238E27FC236}">
                  <a16:creationId xmlns:a16="http://schemas.microsoft.com/office/drawing/2014/main" id="{1D916753-9E61-46D8-0D0A-9E1D2F865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7" y="2450"/>
              <a:ext cx="598" cy="810"/>
            </a:xfrm>
            <a:custGeom>
              <a:avLst/>
              <a:gdLst>
                <a:gd name="T0" fmla="*/ 9 w 363"/>
                <a:gd name="T1" fmla="*/ 4 h 492"/>
                <a:gd name="T2" fmla="*/ 111 w 363"/>
                <a:gd name="T3" fmla="*/ 0 h 492"/>
                <a:gd name="T4" fmla="*/ 325 w 363"/>
                <a:gd name="T5" fmla="*/ 44 h 492"/>
                <a:gd name="T6" fmla="*/ 346 w 363"/>
                <a:gd name="T7" fmla="*/ 155 h 492"/>
                <a:gd name="T8" fmla="*/ 223 w 363"/>
                <a:gd name="T9" fmla="*/ 434 h 492"/>
                <a:gd name="T10" fmla="*/ 226 w 363"/>
                <a:gd name="T11" fmla="*/ 465 h 492"/>
                <a:gd name="T12" fmla="*/ 198 w 363"/>
                <a:gd name="T13" fmla="*/ 492 h 492"/>
                <a:gd name="T14" fmla="*/ 99 w 363"/>
                <a:gd name="T15" fmla="*/ 456 h 492"/>
                <a:gd name="T16" fmla="*/ 95 w 363"/>
                <a:gd name="T17" fmla="*/ 439 h 492"/>
                <a:gd name="T18" fmla="*/ 111 w 363"/>
                <a:gd name="T19" fmla="*/ 424 h 492"/>
                <a:gd name="T20" fmla="*/ 111 w 363"/>
                <a:gd name="T21" fmla="*/ 399 h 492"/>
                <a:gd name="T22" fmla="*/ 149 w 363"/>
                <a:gd name="T23" fmla="*/ 327 h 492"/>
                <a:gd name="T24" fmla="*/ 185 w 363"/>
                <a:gd name="T25" fmla="*/ 191 h 492"/>
                <a:gd name="T26" fmla="*/ 207 w 363"/>
                <a:gd name="T27" fmla="*/ 153 h 492"/>
                <a:gd name="T28" fmla="*/ 108 w 363"/>
                <a:gd name="T29" fmla="*/ 110 h 492"/>
                <a:gd name="T30" fmla="*/ 0 w 363"/>
                <a:gd name="T31" fmla="*/ 84 h 492"/>
                <a:gd name="T32" fmla="*/ 9 w 363"/>
                <a:gd name="T33" fmla="*/ 4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3" h="492">
                  <a:moveTo>
                    <a:pt x="9" y="4"/>
                  </a:move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288" y="10"/>
                    <a:pt x="325" y="44"/>
                  </a:cubicBezTo>
                  <a:cubicBezTo>
                    <a:pt x="363" y="79"/>
                    <a:pt x="358" y="118"/>
                    <a:pt x="346" y="155"/>
                  </a:cubicBezTo>
                  <a:cubicBezTo>
                    <a:pt x="333" y="193"/>
                    <a:pt x="223" y="434"/>
                    <a:pt x="223" y="434"/>
                  </a:cubicBezTo>
                  <a:cubicBezTo>
                    <a:pt x="223" y="434"/>
                    <a:pt x="232" y="449"/>
                    <a:pt x="226" y="465"/>
                  </a:cubicBezTo>
                  <a:cubicBezTo>
                    <a:pt x="219" y="488"/>
                    <a:pt x="198" y="492"/>
                    <a:pt x="198" y="492"/>
                  </a:cubicBezTo>
                  <a:cubicBezTo>
                    <a:pt x="99" y="456"/>
                    <a:pt x="99" y="456"/>
                    <a:pt x="99" y="456"/>
                  </a:cubicBezTo>
                  <a:cubicBezTo>
                    <a:pt x="99" y="456"/>
                    <a:pt x="86" y="451"/>
                    <a:pt x="95" y="439"/>
                  </a:cubicBezTo>
                  <a:cubicBezTo>
                    <a:pt x="105" y="426"/>
                    <a:pt x="111" y="424"/>
                    <a:pt x="111" y="424"/>
                  </a:cubicBezTo>
                  <a:cubicBezTo>
                    <a:pt x="111" y="399"/>
                    <a:pt x="111" y="399"/>
                    <a:pt x="111" y="399"/>
                  </a:cubicBezTo>
                  <a:cubicBezTo>
                    <a:pt x="111" y="399"/>
                    <a:pt x="146" y="336"/>
                    <a:pt x="149" y="327"/>
                  </a:cubicBezTo>
                  <a:cubicBezTo>
                    <a:pt x="152" y="319"/>
                    <a:pt x="185" y="191"/>
                    <a:pt x="185" y="191"/>
                  </a:cubicBezTo>
                  <a:cubicBezTo>
                    <a:pt x="207" y="153"/>
                    <a:pt x="207" y="153"/>
                    <a:pt x="207" y="153"/>
                  </a:cubicBezTo>
                  <a:cubicBezTo>
                    <a:pt x="207" y="153"/>
                    <a:pt x="154" y="128"/>
                    <a:pt x="108" y="110"/>
                  </a:cubicBezTo>
                  <a:cubicBezTo>
                    <a:pt x="0" y="84"/>
                    <a:pt x="0" y="84"/>
                    <a:pt x="0" y="84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Freeform 335">
              <a:extLst>
                <a:ext uri="{FF2B5EF4-FFF2-40B4-BE49-F238E27FC236}">
                  <a16:creationId xmlns:a16="http://schemas.microsoft.com/office/drawing/2014/main" id="{63A154C8-9230-6F1D-A9DD-C004D1735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8" y="3151"/>
              <a:ext cx="107" cy="43"/>
            </a:xfrm>
            <a:custGeom>
              <a:avLst/>
              <a:gdLst>
                <a:gd name="T0" fmla="*/ 65 w 65"/>
                <a:gd name="T1" fmla="*/ 25 h 26"/>
                <a:gd name="T2" fmla="*/ 56 w 65"/>
                <a:gd name="T3" fmla="*/ 20 h 26"/>
                <a:gd name="T4" fmla="*/ 34 w 65"/>
                <a:gd name="T5" fmla="*/ 9 h 26"/>
                <a:gd name="T6" fmla="*/ 10 w 65"/>
                <a:gd name="T7" fmla="*/ 2 h 26"/>
                <a:gd name="T8" fmla="*/ 0 w 65"/>
                <a:gd name="T9" fmla="*/ 1 h 26"/>
                <a:gd name="T10" fmla="*/ 10 w 65"/>
                <a:gd name="T11" fmla="*/ 1 h 26"/>
                <a:gd name="T12" fmla="*/ 35 w 65"/>
                <a:gd name="T13" fmla="*/ 7 h 26"/>
                <a:gd name="T14" fmla="*/ 57 w 65"/>
                <a:gd name="T15" fmla="*/ 19 h 26"/>
                <a:gd name="T16" fmla="*/ 65 w 65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26">
                  <a:moveTo>
                    <a:pt x="65" y="25"/>
                  </a:moveTo>
                  <a:cubicBezTo>
                    <a:pt x="65" y="26"/>
                    <a:pt x="61" y="23"/>
                    <a:pt x="56" y="20"/>
                  </a:cubicBezTo>
                  <a:cubicBezTo>
                    <a:pt x="51" y="16"/>
                    <a:pt x="43" y="12"/>
                    <a:pt x="34" y="9"/>
                  </a:cubicBezTo>
                  <a:cubicBezTo>
                    <a:pt x="25" y="5"/>
                    <a:pt x="16" y="3"/>
                    <a:pt x="10" y="2"/>
                  </a:cubicBezTo>
                  <a:cubicBezTo>
                    <a:pt x="4" y="1"/>
                    <a:pt x="0" y="1"/>
                    <a:pt x="0" y="1"/>
                  </a:cubicBezTo>
                  <a:cubicBezTo>
                    <a:pt x="0" y="1"/>
                    <a:pt x="4" y="0"/>
                    <a:pt x="10" y="1"/>
                  </a:cubicBezTo>
                  <a:cubicBezTo>
                    <a:pt x="17" y="2"/>
                    <a:pt x="26" y="3"/>
                    <a:pt x="35" y="7"/>
                  </a:cubicBezTo>
                  <a:cubicBezTo>
                    <a:pt x="44" y="10"/>
                    <a:pt x="52" y="15"/>
                    <a:pt x="57" y="19"/>
                  </a:cubicBezTo>
                  <a:cubicBezTo>
                    <a:pt x="62" y="22"/>
                    <a:pt x="65" y="25"/>
                    <a:pt x="65" y="2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Freeform 336">
              <a:extLst>
                <a:ext uri="{FF2B5EF4-FFF2-40B4-BE49-F238E27FC236}">
                  <a16:creationId xmlns:a16="http://schemas.microsoft.com/office/drawing/2014/main" id="{B9215E90-E74F-5580-C409-FD4D0DDA4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3090"/>
              <a:ext cx="56" cy="74"/>
            </a:xfrm>
            <a:custGeom>
              <a:avLst/>
              <a:gdLst>
                <a:gd name="T0" fmla="*/ 34 w 34"/>
                <a:gd name="T1" fmla="*/ 45 h 45"/>
                <a:gd name="T2" fmla="*/ 28 w 34"/>
                <a:gd name="T3" fmla="*/ 39 h 45"/>
                <a:gd name="T4" fmla="*/ 16 w 34"/>
                <a:gd name="T5" fmla="*/ 23 h 45"/>
                <a:gd name="T6" fmla="*/ 4 w 34"/>
                <a:gd name="T7" fmla="*/ 7 h 45"/>
                <a:gd name="T8" fmla="*/ 0 w 34"/>
                <a:gd name="T9" fmla="*/ 0 h 45"/>
                <a:gd name="T10" fmla="*/ 6 w 34"/>
                <a:gd name="T11" fmla="*/ 6 h 45"/>
                <a:gd name="T12" fmla="*/ 17 w 34"/>
                <a:gd name="T13" fmla="*/ 22 h 45"/>
                <a:gd name="T14" fmla="*/ 29 w 34"/>
                <a:gd name="T15" fmla="*/ 38 h 45"/>
                <a:gd name="T16" fmla="*/ 34 w 34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5">
                  <a:moveTo>
                    <a:pt x="34" y="45"/>
                  </a:moveTo>
                  <a:cubicBezTo>
                    <a:pt x="34" y="45"/>
                    <a:pt x="31" y="43"/>
                    <a:pt x="28" y="39"/>
                  </a:cubicBezTo>
                  <a:cubicBezTo>
                    <a:pt x="25" y="35"/>
                    <a:pt x="20" y="30"/>
                    <a:pt x="16" y="23"/>
                  </a:cubicBezTo>
                  <a:cubicBezTo>
                    <a:pt x="11" y="17"/>
                    <a:pt x="7" y="11"/>
                    <a:pt x="4" y="7"/>
                  </a:cubicBezTo>
                  <a:cubicBezTo>
                    <a:pt x="2" y="3"/>
                    <a:pt x="0" y="0"/>
                    <a:pt x="0" y="0"/>
                  </a:cubicBezTo>
                  <a:cubicBezTo>
                    <a:pt x="1" y="0"/>
                    <a:pt x="3" y="2"/>
                    <a:pt x="6" y="6"/>
                  </a:cubicBezTo>
                  <a:cubicBezTo>
                    <a:pt x="9" y="11"/>
                    <a:pt x="13" y="16"/>
                    <a:pt x="17" y="22"/>
                  </a:cubicBezTo>
                  <a:cubicBezTo>
                    <a:pt x="22" y="28"/>
                    <a:pt x="26" y="34"/>
                    <a:pt x="29" y="38"/>
                  </a:cubicBezTo>
                  <a:cubicBezTo>
                    <a:pt x="32" y="42"/>
                    <a:pt x="34" y="45"/>
                    <a:pt x="34" y="4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Freeform 337">
              <a:extLst>
                <a:ext uri="{FF2B5EF4-FFF2-40B4-BE49-F238E27FC236}">
                  <a16:creationId xmlns:a16="http://schemas.microsoft.com/office/drawing/2014/main" id="{9F2C79C4-2303-47CD-127E-9266C2B31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3" y="2644"/>
              <a:ext cx="92" cy="58"/>
            </a:xfrm>
            <a:custGeom>
              <a:avLst/>
              <a:gdLst>
                <a:gd name="T0" fmla="*/ 56 w 56"/>
                <a:gd name="T1" fmla="*/ 1 h 35"/>
                <a:gd name="T2" fmla="*/ 46 w 56"/>
                <a:gd name="T3" fmla="*/ 4 h 35"/>
                <a:gd name="T4" fmla="*/ 25 w 56"/>
                <a:gd name="T5" fmla="*/ 14 h 35"/>
                <a:gd name="T6" fmla="*/ 7 w 56"/>
                <a:gd name="T7" fmla="*/ 28 h 35"/>
                <a:gd name="T8" fmla="*/ 0 w 56"/>
                <a:gd name="T9" fmla="*/ 35 h 35"/>
                <a:gd name="T10" fmla="*/ 6 w 56"/>
                <a:gd name="T11" fmla="*/ 27 h 35"/>
                <a:gd name="T12" fmla="*/ 24 w 56"/>
                <a:gd name="T13" fmla="*/ 12 h 35"/>
                <a:gd name="T14" fmla="*/ 46 w 56"/>
                <a:gd name="T15" fmla="*/ 2 h 35"/>
                <a:gd name="T16" fmla="*/ 56 w 56"/>
                <a:gd name="T17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35">
                  <a:moveTo>
                    <a:pt x="56" y="1"/>
                  </a:moveTo>
                  <a:cubicBezTo>
                    <a:pt x="56" y="1"/>
                    <a:pt x="52" y="2"/>
                    <a:pt x="46" y="4"/>
                  </a:cubicBezTo>
                  <a:cubicBezTo>
                    <a:pt x="41" y="5"/>
                    <a:pt x="33" y="9"/>
                    <a:pt x="25" y="14"/>
                  </a:cubicBezTo>
                  <a:cubicBezTo>
                    <a:pt x="18" y="18"/>
                    <a:pt x="11" y="24"/>
                    <a:pt x="7" y="28"/>
                  </a:cubicBezTo>
                  <a:cubicBezTo>
                    <a:pt x="3" y="32"/>
                    <a:pt x="1" y="35"/>
                    <a:pt x="0" y="35"/>
                  </a:cubicBezTo>
                  <a:cubicBezTo>
                    <a:pt x="0" y="35"/>
                    <a:pt x="2" y="32"/>
                    <a:pt x="6" y="27"/>
                  </a:cubicBezTo>
                  <a:cubicBezTo>
                    <a:pt x="10" y="23"/>
                    <a:pt x="16" y="17"/>
                    <a:pt x="24" y="12"/>
                  </a:cubicBezTo>
                  <a:cubicBezTo>
                    <a:pt x="32" y="7"/>
                    <a:pt x="40" y="4"/>
                    <a:pt x="46" y="2"/>
                  </a:cubicBezTo>
                  <a:cubicBezTo>
                    <a:pt x="52" y="1"/>
                    <a:pt x="56" y="0"/>
                    <a:pt x="5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Freeform 338">
              <a:extLst>
                <a:ext uri="{FF2B5EF4-FFF2-40B4-BE49-F238E27FC236}">
                  <a16:creationId xmlns:a16="http://schemas.microsoft.com/office/drawing/2014/main" id="{5F814E9C-2F41-16AD-5321-6186A968A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" y="2614"/>
              <a:ext cx="137" cy="312"/>
            </a:xfrm>
            <a:custGeom>
              <a:avLst/>
              <a:gdLst>
                <a:gd name="T0" fmla="*/ 0 w 83"/>
                <a:gd name="T1" fmla="*/ 189 h 189"/>
                <a:gd name="T2" fmla="*/ 1 w 83"/>
                <a:gd name="T3" fmla="*/ 187 h 189"/>
                <a:gd name="T4" fmla="*/ 2 w 83"/>
                <a:gd name="T5" fmla="*/ 181 h 189"/>
                <a:gd name="T6" fmla="*/ 8 w 83"/>
                <a:gd name="T7" fmla="*/ 159 h 189"/>
                <a:gd name="T8" fmla="*/ 28 w 83"/>
                <a:gd name="T9" fmla="*/ 87 h 189"/>
                <a:gd name="T10" fmla="*/ 40 w 83"/>
                <a:gd name="T11" fmla="*/ 47 h 189"/>
                <a:gd name="T12" fmla="*/ 58 w 83"/>
                <a:gd name="T13" fmla="*/ 19 h 189"/>
                <a:gd name="T14" fmla="*/ 76 w 83"/>
                <a:gd name="T15" fmla="*/ 5 h 189"/>
                <a:gd name="T16" fmla="*/ 81 w 83"/>
                <a:gd name="T17" fmla="*/ 1 h 189"/>
                <a:gd name="T18" fmla="*/ 83 w 83"/>
                <a:gd name="T19" fmla="*/ 1 h 189"/>
                <a:gd name="T20" fmla="*/ 76 w 83"/>
                <a:gd name="T21" fmla="*/ 5 h 189"/>
                <a:gd name="T22" fmla="*/ 59 w 83"/>
                <a:gd name="T23" fmla="*/ 20 h 189"/>
                <a:gd name="T24" fmla="*/ 41 w 83"/>
                <a:gd name="T25" fmla="*/ 48 h 189"/>
                <a:gd name="T26" fmla="*/ 30 w 83"/>
                <a:gd name="T27" fmla="*/ 88 h 189"/>
                <a:gd name="T28" fmla="*/ 9 w 83"/>
                <a:gd name="T29" fmla="*/ 160 h 189"/>
                <a:gd name="T30" fmla="*/ 3 w 83"/>
                <a:gd name="T31" fmla="*/ 181 h 189"/>
                <a:gd name="T32" fmla="*/ 1 w 83"/>
                <a:gd name="T33" fmla="*/ 187 h 189"/>
                <a:gd name="T34" fmla="*/ 0 w 83"/>
                <a:gd name="T3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3" h="189">
                  <a:moveTo>
                    <a:pt x="0" y="189"/>
                  </a:moveTo>
                  <a:cubicBezTo>
                    <a:pt x="0" y="189"/>
                    <a:pt x="0" y="188"/>
                    <a:pt x="1" y="187"/>
                  </a:cubicBezTo>
                  <a:cubicBezTo>
                    <a:pt x="1" y="185"/>
                    <a:pt x="2" y="183"/>
                    <a:pt x="2" y="181"/>
                  </a:cubicBezTo>
                  <a:cubicBezTo>
                    <a:pt x="4" y="176"/>
                    <a:pt x="6" y="168"/>
                    <a:pt x="8" y="159"/>
                  </a:cubicBezTo>
                  <a:cubicBezTo>
                    <a:pt x="13" y="140"/>
                    <a:pt x="20" y="115"/>
                    <a:pt x="28" y="87"/>
                  </a:cubicBezTo>
                  <a:cubicBezTo>
                    <a:pt x="32" y="73"/>
                    <a:pt x="36" y="60"/>
                    <a:pt x="40" y="47"/>
                  </a:cubicBezTo>
                  <a:cubicBezTo>
                    <a:pt x="44" y="35"/>
                    <a:pt x="52" y="26"/>
                    <a:pt x="58" y="19"/>
                  </a:cubicBezTo>
                  <a:cubicBezTo>
                    <a:pt x="65" y="12"/>
                    <a:pt x="71" y="8"/>
                    <a:pt x="76" y="5"/>
                  </a:cubicBezTo>
                  <a:cubicBezTo>
                    <a:pt x="78" y="3"/>
                    <a:pt x="80" y="2"/>
                    <a:pt x="81" y="1"/>
                  </a:cubicBezTo>
                  <a:cubicBezTo>
                    <a:pt x="82" y="1"/>
                    <a:pt x="83" y="0"/>
                    <a:pt x="83" y="1"/>
                  </a:cubicBezTo>
                  <a:cubicBezTo>
                    <a:pt x="83" y="1"/>
                    <a:pt x="81" y="2"/>
                    <a:pt x="76" y="5"/>
                  </a:cubicBezTo>
                  <a:cubicBezTo>
                    <a:pt x="72" y="8"/>
                    <a:pt x="66" y="13"/>
                    <a:pt x="59" y="20"/>
                  </a:cubicBezTo>
                  <a:cubicBezTo>
                    <a:pt x="53" y="27"/>
                    <a:pt x="46" y="36"/>
                    <a:pt x="41" y="48"/>
                  </a:cubicBezTo>
                  <a:cubicBezTo>
                    <a:pt x="38" y="60"/>
                    <a:pt x="34" y="74"/>
                    <a:pt x="30" y="88"/>
                  </a:cubicBezTo>
                  <a:cubicBezTo>
                    <a:pt x="22" y="116"/>
                    <a:pt x="15" y="141"/>
                    <a:pt x="9" y="160"/>
                  </a:cubicBezTo>
                  <a:cubicBezTo>
                    <a:pt x="7" y="169"/>
                    <a:pt x="5" y="176"/>
                    <a:pt x="3" y="181"/>
                  </a:cubicBezTo>
                  <a:cubicBezTo>
                    <a:pt x="2" y="184"/>
                    <a:pt x="2" y="186"/>
                    <a:pt x="1" y="187"/>
                  </a:cubicBezTo>
                  <a:cubicBezTo>
                    <a:pt x="1" y="188"/>
                    <a:pt x="0" y="189"/>
                    <a:pt x="0" y="18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Freeform 339">
              <a:extLst>
                <a:ext uri="{FF2B5EF4-FFF2-40B4-BE49-F238E27FC236}">
                  <a16:creationId xmlns:a16="http://schemas.microsoft.com/office/drawing/2014/main" id="{86F46081-F4EE-F839-AC46-3F9048FF5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8" y="2483"/>
              <a:ext cx="13" cy="140"/>
            </a:xfrm>
            <a:custGeom>
              <a:avLst/>
              <a:gdLst>
                <a:gd name="T0" fmla="*/ 8 w 8"/>
                <a:gd name="T1" fmla="*/ 85 h 85"/>
                <a:gd name="T2" fmla="*/ 3 w 8"/>
                <a:gd name="T3" fmla="*/ 43 h 85"/>
                <a:gd name="T4" fmla="*/ 0 w 8"/>
                <a:gd name="T5" fmla="*/ 0 h 85"/>
                <a:gd name="T6" fmla="*/ 5 w 8"/>
                <a:gd name="T7" fmla="*/ 42 h 85"/>
                <a:gd name="T8" fmla="*/ 8 w 8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5">
                  <a:moveTo>
                    <a:pt x="8" y="85"/>
                  </a:moveTo>
                  <a:cubicBezTo>
                    <a:pt x="7" y="85"/>
                    <a:pt x="5" y="66"/>
                    <a:pt x="3" y="43"/>
                  </a:cubicBezTo>
                  <a:cubicBezTo>
                    <a:pt x="1" y="19"/>
                    <a:pt x="0" y="0"/>
                    <a:pt x="0" y="0"/>
                  </a:cubicBezTo>
                  <a:cubicBezTo>
                    <a:pt x="1" y="0"/>
                    <a:pt x="3" y="19"/>
                    <a:pt x="5" y="42"/>
                  </a:cubicBezTo>
                  <a:cubicBezTo>
                    <a:pt x="7" y="66"/>
                    <a:pt x="8" y="85"/>
                    <a:pt x="8" y="8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Freeform 340">
              <a:extLst>
                <a:ext uri="{FF2B5EF4-FFF2-40B4-BE49-F238E27FC236}">
                  <a16:creationId xmlns:a16="http://schemas.microsoft.com/office/drawing/2014/main" id="{7CE3E9E9-A82B-E398-3992-B8229219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4" y="2646"/>
              <a:ext cx="77" cy="61"/>
            </a:xfrm>
            <a:custGeom>
              <a:avLst/>
              <a:gdLst>
                <a:gd name="T0" fmla="*/ 47 w 47"/>
                <a:gd name="T1" fmla="*/ 37 h 37"/>
                <a:gd name="T2" fmla="*/ 42 w 47"/>
                <a:gd name="T3" fmla="*/ 30 h 37"/>
                <a:gd name="T4" fmla="*/ 27 w 47"/>
                <a:gd name="T5" fmla="*/ 14 h 37"/>
                <a:gd name="T6" fmla="*/ 8 w 47"/>
                <a:gd name="T7" fmla="*/ 4 h 37"/>
                <a:gd name="T8" fmla="*/ 0 w 47"/>
                <a:gd name="T9" fmla="*/ 0 h 37"/>
                <a:gd name="T10" fmla="*/ 9 w 47"/>
                <a:gd name="T11" fmla="*/ 2 h 37"/>
                <a:gd name="T12" fmla="*/ 28 w 47"/>
                <a:gd name="T13" fmla="*/ 13 h 37"/>
                <a:gd name="T14" fmla="*/ 43 w 47"/>
                <a:gd name="T15" fmla="*/ 29 h 37"/>
                <a:gd name="T16" fmla="*/ 47 w 47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7">
                  <a:moveTo>
                    <a:pt x="47" y="37"/>
                  </a:moveTo>
                  <a:cubicBezTo>
                    <a:pt x="47" y="37"/>
                    <a:pt x="45" y="34"/>
                    <a:pt x="42" y="30"/>
                  </a:cubicBezTo>
                  <a:cubicBezTo>
                    <a:pt x="39" y="25"/>
                    <a:pt x="34" y="19"/>
                    <a:pt x="27" y="14"/>
                  </a:cubicBezTo>
                  <a:cubicBezTo>
                    <a:pt x="20" y="9"/>
                    <a:pt x="13" y="5"/>
                    <a:pt x="8" y="4"/>
                  </a:cubicBezTo>
                  <a:cubicBezTo>
                    <a:pt x="3" y="2"/>
                    <a:pt x="0" y="1"/>
                    <a:pt x="0" y="0"/>
                  </a:cubicBezTo>
                  <a:cubicBezTo>
                    <a:pt x="0" y="0"/>
                    <a:pt x="3" y="1"/>
                    <a:pt x="9" y="2"/>
                  </a:cubicBezTo>
                  <a:cubicBezTo>
                    <a:pt x="14" y="4"/>
                    <a:pt x="21" y="7"/>
                    <a:pt x="28" y="13"/>
                  </a:cubicBezTo>
                  <a:cubicBezTo>
                    <a:pt x="35" y="18"/>
                    <a:pt x="40" y="24"/>
                    <a:pt x="43" y="29"/>
                  </a:cubicBezTo>
                  <a:cubicBezTo>
                    <a:pt x="46" y="34"/>
                    <a:pt x="47" y="37"/>
                    <a:pt x="47" y="37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Freeform 341">
              <a:extLst>
                <a:ext uri="{FF2B5EF4-FFF2-40B4-BE49-F238E27FC236}">
                  <a16:creationId xmlns:a16="http://schemas.microsoft.com/office/drawing/2014/main" id="{5E6AA1E5-4525-CBAE-FC7C-089B51347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8" y="2562"/>
              <a:ext cx="147" cy="31"/>
            </a:xfrm>
            <a:custGeom>
              <a:avLst/>
              <a:gdLst>
                <a:gd name="T0" fmla="*/ 88 w 89"/>
                <a:gd name="T1" fmla="*/ 19 h 19"/>
                <a:gd name="T2" fmla="*/ 76 w 89"/>
                <a:gd name="T3" fmla="*/ 13 h 19"/>
                <a:gd name="T4" fmla="*/ 46 w 89"/>
                <a:gd name="T5" fmla="*/ 4 h 19"/>
                <a:gd name="T6" fmla="*/ 14 w 89"/>
                <a:gd name="T7" fmla="*/ 4 h 19"/>
                <a:gd name="T8" fmla="*/ 0 w 89"/>
                <a:gd name="T9" fmla="*/ 6 h 19"/>
                <a:gd name="T10" fmla="*/ 4 w 89"/>
                <a:gd name="T11" fmla="*/ 5 h 19"/>
                <a:gd name="T12" fmla="*/ 13 w 89"/>
                <a:gd name="T13" fmla="*/ 3 h 19"/>
                <a:gd name="T14" fmla="*/ 46 w 89"/>
                <a:gd name="T15" fmla="*/ 2 h 19"/>
                <a:gd name="T16" fmla="*/ 77 w 89"/>
                <a:gd name="T17" fmla="*/ 12 h 19"/>
                <a:gd name="T18" fmla="*/ 86 w 89"/>
                <a:gd name="T19" fmla="*/ 17 h 19"/>
                <a:gd name="T20" fmla="*/ 88 w 89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9" h="19">
                  <a:moveTo>
                    <a:pt x="88" y="19"/>
                  </a:moveTo>
                  <a:cubicBezTo>
                    <a:pt x="88" y="19"/>
                    <a:pt x="84" y="16"/>
                    <a:pt x="76" y="13"/>
                  </a:cubicBezTo>
                  <a:cubicBezTo>
                    <a:pt x="69" y="10"/>
                    <a:pt x="58" y="6"/>
                    <a:pt x="46" y="4"/>
                  </a:cubicBezTo>
                  <a:cubicBezTo>
                    <a:pt x="33" y="2"/>
                    <a:pt x="22" y="3"/>
                    <a:pt x="14" y="4"/>
                  </a:cubicBezTo>
                  <a:cubicBezTo>
                    <a:pt x="5" y="5"/>
                    <a:pt x="1" y="7"/>
                    <a:pt x="0" y="6"/>
                  </a:cubicBezTo>
                  <a:cubicBezTo>
                    <a:pt x="0" y="6"/>
                    <a:pt x="2" y="6"/>
                    <a:pt x="4" y="5"/>
                  </a:cubicBezTo>
                  <a:cubicBezTo>
                    <a:pt x="6" y="4"/>
                    <a:pt x="9" y="3"/>
                    <a:pt x="13" y="3"/>
                  </a:cubicBezTo>
                  <a:cubicBezTo>
                    <a:pt x="22" y="1"/>
                    <a:pt x="33" y="0"/>
                    <a:pt x="46" y="2"/>
                  </a:cubicBezTo>
                  <a:cubicBezTo>
                    <a:pt x="59" y="4"/>
                    <a:pt x="70" y="8"/>
                    <a:pt x="77" y="12"/>
                  </a:cubicBezTo>
                  <a:cubicBezTo>
                    <a:pt x="81" y="14"/>
                    <a:pt x="84" y="15"/>
                    <a:pt x="86" y="17"/>
                  </a:cubicBezTo>
                  <a:cubicBezTo>
                    <a:pt x="88" y="18"/>
                    <a:pt x="89" y="19"/>
                    <a:pt x="88" y="1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Freeform 342">
              <a:extLst>
                <a:ext uri="{FF2B5EF4-FFF2-40B4-BE49-F238E27FC236}">
                  <a16:creationId xmlns:a16="http://schemas.microsoft.com/office/drawing/2014/main" id="{CBA8EB29-A3FF-5F18-F585-3BD5F4353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" y="2591"/>
              <a:ext cx="408" cy="81"/>
            </a:xfrm>
            <a:custGeom>
              <a:avLst/>
              <a:gdLst>
                <a:gd name="T0" fmla="*/ 248 w 248"/>
                <a:gd name="T1" fmla="*/ 49 h 49"/>
                <a:gd name="T2" fmla="*/ 246 w 248"/>
                <a:gd name="T3" fmla="*/ 49 h 49"/>
                <a:gd name="T4" fmla="*/ 238 w 248"/>
                <a:gd name="T5" fmla="*/ 47 h 49"/>
                <a:gd name="T6" fmla="*/ 212 w 248"/>
                <a:gd name="T7" fmla="*/ 41 h 49"/>
                <a:gd name="T8" fmla="*/ 124 w 248"/>
                <a:gd name="T9" fmla="*/ 23 h 49"/>
                <a:gd name="T10" fmla="*/ 36 w 248"/>
                <a:gd name="T11" fmla="*/ 7 h 49"/>
                <a:gd name="T12" fmla="*/ 10 w 248"/>
                <a:gd name="T13" fmla="*/ 2 h 49"/>
                <a:gd name="T14" fmla="*/ 2 w 248"/>
                <a:gd name="T15" fmla="*/ 1 h 49"/>
                <a:gd name="T16" fmla="*/ 0 w 248"/>
                <a:gd name="T17" fmla="*/ 0 h 49"/>
                <a:gd name="T18" fmla="*/ 2 w 248"/>
                <a:gd name="T19" fmla="*/ 0 h 49"/>
                <a:gd name="T20" fmla="*/ 10 w 248"/>
                <a:gd name="T21" fmla="*/ 1 h 49"/>
                <a:gd name="T22" fmla="*/ 37 w 248"/>
                <a:gd name="T23" fmla="*/ 5 h 49"/>
                <a:gd name="T24" fmla="*/ 125 w 248"/>
                <a:gd name="T25" fmla="*/ 21 h 49"/>
                <a:gd name="T26" fmla="*/ 212 w 248"/>
                <a:gd name="T27" fmla="*/ 40 h 49"/>
                <a:gd name="T28" fmla="*/ 239 w 248"/>
                <a:gd name="T29" fmla="*/ 47 h 49"/>
                <a:gd name="T30" fmla="*/ 246 w 248"/>
                <a:gd name="T31" fmla="*/ 48 h 49"/>
                <a:gd name="T32" fmla="*/ 248 w 248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8" h="49">
                  <a:moveTo>
                    <a:pt x="248" y="49"/>
                  </a:moveTo>
                  <a:cubicBezTo>
                    <a:pt x="248" y="49"/>
                    <a:pt x="247" y="49"/>
                    <a:pt x="246" y="49"/>
                  </a:cubicBezTo>
                  <a:cubicBezTo>
                    <a:pt x="244" y="48"/>
                    <a:pt x="241" y="48"/>
                    <a:pt x="238" y="47"/>
                  </a:cubicBezTo>
                  <a:cubicBezTo>
                    <a:pt x="232" y="46"/>
                    <a:pt x="223" y="44"/>
                    <a:pt x="212" y="41"/>
                  </a:cubicBezTo>
                  <a:cubicBezTo>
                    <a:pt x="190" y="36"/>
                    <a:pt x="159" y="30"/>
                    <a:pt x="124" y="23"/>
                  </a:cubicBezTo>
                  <a:cubicBezTo>
                    <a:pt x="90" y="16"/>
                    <a:pt x="59" y="10"/>
                    <a:pt x="36" y="7"/>
                  </a:cubicBezTo>
                  <a:cubicBezTo>
                    <a:pt x="25" y="5"/>
                    <a:pt x="16" y="3"/>
                    <a:pt x="10" y="2"/>
                  </a:cubicBezTo>
                  <a:cubicBezTo>
                    <a:pt x="7" y="1"/>
                    <a:pt x="4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1"/>
                    <a:pt x="7" y="1"/>
                    <a:pt x="10" y="1"/>
                  </a:cubicBezTo>
                  <a:cubicBezTo>
                    <a:pt x="16" y="2"/>
                    <a:pt x="25" y="3"/>
                    <a:pt x="37" y="5"/>
                  </a:cubicBezTo>
                  <a:cubicBezTo>
                    <a:pt x="59" y="9"/>
                    <a:pt x="90" y="14"/>
                    <a:pt x="125" y="21"/>
                  </a:cubicBezTo>
                  <a:cubicBezTo>
                    <a:pt x="159" y="28"/>
                    <a:pt x="190" y="35"/>
                    <a:pt x="212" y="40"/>
                  </a:cubicBezTo>
                  <a:cubicBezTo>
                    <a:pt x="223" y="43"/>
                    <a:pt x="232" y="45"/>
                    <a:pt x="239" y="47"/>
                  </a:cubicBezTo>
                  <a:cubicBezTo>
                    <a:pt x="242" y="47"/>
                    <a:pt x="244" y="48"/>
                    <a:pt x="246" y="48"/>
                  </a:cubicBezTo>
                  <a:cubicBezTo>
                    <a:pt x="247" y="49"/>
                    <a:pt x="248" y="49"/>
                    <a:pt x="248" y="4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1" name="Freeform 343">
              <a:extLst>
                <a:ext uri="{FF2B5EF4-FFF2-40B4-BE49-F238E27FC236}">
                  <a16:creationId xmlns:a16="http://schemas.microsoft.com/office/drawing/2014/main" id="{B9DB41AD-2FF6-07E1-6091-C1C8155A1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5" y="2521"/>
              <a:ext cx="92" cy="82"/>
            </a:xfrm>
            <a:custGeom>
              <a:avLst/>
              <a:gdLst>
                <a:gd name="T0" fmla="*/ 56 w 56"/>
                <a:gd name="T1" fmla="*/ 50 h 50"/>
                <a:gd name="T2" fmla="*/ 52 w 56"/>
                <a:gd name="T3" fmla="*/ 39 h 50"/>
                <a:gd name="T4" fmla="*/ 44 w 56"/>
                <a:gd name="T5" fmla="*/ 30 h 50"/>
                <a:gd name="T6" fmla="*/ 33 w 56"/>
                <a:gd name="T7" fmla="*/ 20 h 50"/>
                <a:gd name="T8" fmla="*/ 10 w 56"/>
                <a:gd name="T9" fmla="*/ 6 h 50"/>
                <a:gd name="T10" fmla="*/ 0 w 56"/>
                <a:gd name="T11" fmla="*/ 0 h 50"/>
                <a:gd name="T12" fmla="*/ 10 w 56"/>
                <a:gd name="T13" fmla="*/ 4 h 50"/>
                <a:gd name="T14" fmla="*/ 34 w 56"/>
                <a:gd name="T15" fmla="*/ 19 h 50"/>
                <a:gd name="T16" fmla="*/ 46 w 56"/>
                <a:gd name="T17" fmla="*/ 29 h 50"/>
                <a:gd name="T18" fmla="*/ 53 w 56"/>
                <a:gd name="T19" fmla="*/ 39 h 50"/>
                <a:gd name="T20" fmla="*/ 56 w 56"/>
                <a:gd name="T21" fmla="*/ 47 h 50"/>
                <a:gd name="T22" fmla="*/ 56 w 5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50">
                  <a:moveTo>
                    <a:pt x="56" y="50"/>
                  </a:moveTo>
                  <a:cubicBezTo>
                    <a:pt x="56" y="50"/>
                    <a:pt x="55" y="46"/>
                    <a:pt x="52" y="39"/>
                  </a:cubicBezTo>
                  <a:cubicBezTo>
                    <a:pt x="50" y="36"/>
                    <a:pt x="48" y="33"/>
                    <a:pt x="44" y="30"/>
                  </a:cubicBezTo>
                  <a:cubicBezTo>
                    <a:pt x="41" y="27"/>
                    <a:pt x="37" y="23"/>
                    <a:pt x="33" y="20"/>
                  </a:cubicBezTo>
                  <a:cubicBezTo>
                    <a:pt x="24" y="14"/>
                    <a:pt x="16" y="9"/>
                    <a:pt x="10" y="6"/>
                  </a:cubicBezTo>
                  <a:cubicBezTo>
                    <a:pt x="3" y="2"/>
                    <a:pt x="0" y="0"/>
                    <a:pt x="0" y="0"/>
                  </a:cubicBezTo>
                  <a:cubicBezTo>
                    <a:pt x="0" y="0"/>
                    <a:pt x="4" y="1"/>
                    <a:pt x="10" y="4"/>
                  </a:cubicBezTo>
                  <a:cubicBezTo>
                    <a:pt x="17" y="7"/>
                    <a:pt x="25" y="12"/>
                    <a:pt x="34" y="19"/>
                  </a:cubicBezTo>
                  <a:cubicBezTo>
                    <a:pt x="38" y="22"/>
                    <a:pt x="42" y="25"/>
                    <a:pt x="46" y="29"/>
                  </a:cubicBezTo>
                  <a:cubicBezTo>
                    <a:pt x="49" y="32"/>
                    <a:pt x="51" y="36"/>
                    <a:pt x="53" y="39"/>
                  </a:cubicBezTo>
                  <a:cubicBezTo>
                    <a:pt x="55" y="42"/>
                    <a:pt x="55" y="45"/>
                    <a:pt x="56" y="47"/>
                  </a:cubicBezTo>
                  <a:cubicBezTo>
                    <a:pt x="56" y="49"/>
                    <a:pt x="56" y="50"/>
                    <a:pt x="56" y="5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2" name="Freeform 344">
              <a:extLst>
                <a:ext uri="{FF2B5EF4-FFF2-40B4-BE49-F238E27FC236}">
                  <a16:creationId xmlns:a16="http://schemas.microsoft.com/office/drawing/2014/main" id="{CA29F9BC-0EC2-B21C-BBD7-ED29E8BDD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" y="2684"/>
              <a:ext cx="26" cy="49"/>
            </a:xfrm>
            <a:custGeom>
              <a:avLst/>
              <a:gdLst>
                <a:gd name="T0" fmla="*/ 16 w 16"/>
                <a:gd name="T1" fmla="*/ 0 h 30"/>
                <a:gd name="T2" fmla="*/ 7 w 16"/>
                <a:gd name="T3" fmla="*/ 14 h 30"/>
                <a:gd name="T4" fmla="*/ 1 w 16"/>
                <a:gd name="T5" fmla="*/ 30 h 30"/>
                <a:gd name="T6" fmla="*/ 5 w 16"/>
                <a:gd name="T7" fmla="*/ 13 h 30"/>
                <a:gd name="T8" fmla="*/ 16 w 16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0">
                  <a:moveTo>
                    <a:pt x="16" y="0"/>
                  </a:moveTo>
                  <a:cubicBezTo>
                    <a:pt x="16" y="0"/>
                    <a:pt x="11" y="6"/>
                    <a:pt x="7" y="14"/>
                  </a:cubicBezTo>
                  <a:cubicBezTo>
                    <a:pt x="2" y="22"/>
                    <a:pt x="1" y="30"/>
                    <a:pt x="1" y="30"/>
                  </a:cubicBezTo>
                  <a:cubicBezTo>
                    <a:pt x="0" y="30"/>
                    <a:pt x="1" y="22"/>
                    <a:pt x="5" y="13"/>
                  </a:cubicBezTo>
                  <a:cubicBezTo>
                    <a:pt x="10" y="5"/>
                    <a:pt x="16" y="0"/>
                    <a:pt x="1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3" name="Freeform 346">
              <a:extLst>
                <a:ext uri="{FF2B5EF4-FFF2-40B4-BE49-F238E27FC236}">
                  <a16:creationId xmlns:a16="http://schemas.microsoft.com/office/drawing/2014/main" id="{11301B6A-6235-E2AE-BE64-C89CF1886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1" y="2012"/>
              <a:ext cx="41" cy="275"/>
            </a:xfrm>
            <a:custGeom>
              <a:avLst/>
              <a:gdLst>
                <a:gd name="T0" fmla="*/ 0 w 25"/>
                <a:gd name="T1" fmla="*/ 0 h 167"/>
                <a:gd name="T2" fmla="*/ 24 w 25"/>
                <a:gd name="T3" fmla="*/ 164 h 167"/>
                <a:gd name="T4" fmla="*/ 25 w 25"/>
                <a:gd name="T5" fmla="*/ 167 h 167"/>
                <a:gd name="T6" fmla="*/ 25 w 25"/>
                <a:gd name="T7" fmla="*/ 167 h 167"/>
                <a:gd name="T8" fmla="*/ 16 w 25"/>
                <a:gd name="T9" fmla="*/ 101 h 167"/>
                <a:gd name="T10" fmla="*/ 2 w 25"/>
                <a:gd name="T11" fmla="*/ 3 h 167"/>
                <a:gd name="T12" fmla="*/ 0 w 25"/>
                <a:gd name="T1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67">
                  <a:moveTo>
                    <a:pt x="0" y="0"/>
                  </a:moveTo>
                  <a:cubicBezTo>
                    <a:pt x="24" y="164"/>
                    <a:pt x="24" y="164"/>
                    <a:pt x="24" y="164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22" y="148"/>
                    <a:pt x="19" y="125"/>
                    <a:pt x="16" y="101"/>
                  </a:cubicBezTo>
                  <a:cubicBezTo>
                    <a:pt x="10" y="61"/>
                    <a:pt x="5" y="26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4" name="Freeform 347">
              <a:extLst>
                <a:ext uri="{FF2B5EF4-FFF2-40B4-BE49-F238E27FC236}">
                  <a16:creationId xmlns:a16="http://schemas.microsoft.com/office/drawing/2014/main" id="{B9A28C63-0F32-342D-0F91-D4C94BFDD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5" y="2160"/>
              <a:ext cx="771" cy="245"/>
            </a:xfrm>
            <a:custGeom>
              <a:avLst/>
              <a:gdLst>
                <a:gd name="T0" fmla="*/ 263 w 468"/>
                <a:gd name="T1" fmla="*/ 4 h 149"/>
                <a:gd name="T2" fmla="*/ 187 w 468"/>
                <a:gd name="T3" fmla="*/ 137 h 149"/>
                <a:gd name="T4" fmla="*/ 1 w 468"/>
                <a:gd name="T5" fmla="*/ 141 h 149"/>
                <a:gd name="T6" fmla="*/ 0 w 468"/>
                <a:gd name="T7" fmla="*/ 149 h 149"/>
                <a:gd name="T8" fmla="*/ 181 w 468"/>
                <a:gd name="T9" fmla="*/ 148 h 149"/>
                <a:gd name="T10" fmla="*/ 186 w 468"/>
                <a:gd name="T11" fmla="*/ 148 h 149"/>
                <a:gd name="T12" fmla="*/ 377 w 468"/>
                <a:gd name="T13" fmla="*/ 148 h 149"/>
                <a:gd name="T14" fmla="*/ 415 w 468"/>
                <a:gd name="T15" fmla="*/ 82 h 149"/>
                <a:gd name="T16" fmla="*/ 464 w 468"/>
                <a:gd name="T17" fmla="*/ 11 h 149"/>
                <a:gd name="T18" fmla="*/ 459 w 468"/>
                <a:gd name="T19" fmla="*/ 0 h 149"/>
                <a:gd name="T20" fmla="*/ 269 w 468"/>
                <a:gd name="T21" fmla="*/ 1 h 149"/>
                <a:gd name="T22" fmla="*/ 263 w 468"/>
                <a:gd name="T2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149">
                  <a:moveTo>
                    <a:pt x="263" y="4"/>
                  </a:moveTo>
                  <a:cubicBezTo>
                    <a:pt x="187" y="137"/>
                    <a:pt x="187" y="137"/>
                    <a:pt x="187" y="137"/>
                  </a:cubicBezTo>
                  <a:cubicBezTo>
                    <a:pt x="1" y="141"/>
                    <a:pt x="1" y="141"/>
                    <a:pt x="1" y="141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81" y="148"/>
                    <a:pt x="181" y="148"/>
                    <a:pt x="181" y="148"/>
                  </a:cubicBezTo>
                  <a:cubicBezTo>
                    <a:pt x="186" y="148"/>
                    <a:pt x="186" y="148"/>
                    <a:pt x="186" y="148"/>
                  </a:cubicBezTo>
                  <a:cubicBezTo>
                    <a:pt x="377" y="148"/>
                    <a:pt x="377" y="148"/>
                    <a:pt x="377" y="148"/>
                  </a:cubicBezTo>
                  <a:cubicBezTo>
                    <a:pt x="415" y="82"/>
                    <a:pt x="415" y="82"/>
                    <a:pt x="415" y="82"/>
                  </a:cubicBezTo>
                  <a:cubicBezTo>
                    <a:pt x="464" y="11"/>
                    <a:pt x="464" y="11"/>
                    <a:pt x="464" y="11"/>
                  </a:cubicBezTo>
                  <a:cubicBezTo>
                    <a:pt x="468" y="7"/>
                    <a:pt x="464" y="0"/>
                    <a:pt x="459" y="0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66" y="1"/>
                    <a:pt x="264" y="2"/>
                    <a:pt x="263" y="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5" name="Freeform 348">
              <a:extLst>
                <a:ext uri="{FF2B5EF4-FFF2-40B4-BE49-F238E27FC236}">
                  <a16:creationId xmlns:a16="http://schemas.microsoft.com/office/drawing/2014/main" id="{B11DBC2D-EE75-D749-FEE8-C5D5DE271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" y="2295"/>
              <a:ext cx="122" cy="112"/>
            </a:xfrm>
            <a:custGeom>
              <a:avLst/>
              <a:gdLst>
                <a:gd name="T0" fmla="*/ 64 w 74"/>
                <a:gd name="T1" fmla="*/ 0 h 68"/>
                <a:gd name="T2" fmla="*/ 73 w 74"/>
                <a:gd name="T3" fmla="*/ 16 h 68"/>
                <a:gd name="T4" fmla="*/ 64 w 74"/>
                <a:gd name="T5" fmla="*/ 30 h 68"/>
                <a:gd name="T6" fmla="*/ 54 w 74"/>
                <a:gd name="T7" fmla="*/ 41 h 68"/>
                <a:gd name="T8" fmla="*/ 43 w 74"/>
                <a:gd name="T9" fmla="*/ 55 h 68"/>
                <a:gd name="T10" fmla="*/ 30 w 74"/>
                <a:gd name="T11" fmla="*/ 65 h 68"/>
                <a:gd name="T12" fmla="*/ 15 w 74"/>
                <a:gd name="T13" fmla="*/ 58 h 68"/>
                <a:gd name="T14" fmla="*/ 13 w 74"/>
                <a:gd name="T15" fmla="*/ 54 h 68"/>
                <a:gd name="T16" fmla="*/ 3 w 74"/>
                <a:gd name="T17" fmla="*/ 42 h 68"/>
                <a:gd name="T18" fmla="*/ 12 w 74"/>
                <a:gd name="T19" fmla="*/ 36 h 68"/>
                <a:gd name="T20" fmla="*/ 12 w 74"/>
                <a:gd name="T21" fmla="*/ 25 h 68"/>
                <a:gd name="T22" fmla="*/ 26 w 74"/>
                <a:gd name="T23" fmla="*/ 24 h 68"/>
                <a:gd name="T24" fmla="*/ 29 w 74"/>
                <a:gd name="T25" fmla="*/ 14 h 68"/>
                <a:gd name="T26" fmla="*/ 48 w 74"/>
                <a:gd name="T27" fmla="*/ 21 h 68"/>
                <a:gd name="T28" fmla="*/ 57 w 74"/>
                <a:gd name="T29" fmla="*/ 11 h 68"/>
                <a:gd name="T30" fmla="*/ 64 w 74"/>
                <a:gd name="T3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" h="68">
                  <a:moveTo>
                    <a:pt x="64" y="0"/>
                  </a:moveTo>
                  <a:cubicBezTo>
                    <a:pt x="64" y="0"/>
                    <a:pt x="74" y="9"/>
                    <a:pt x="73" y="16"/>
                  </a:cubicBezTo>
                  <a:cubicBezTo>
                    <a:pt x="71" y="24"/>
                    <a:pt x="71" y="29"/>
                    <a:pt x="64" y="30"/>
                  </a:cubicBezTo>
                  <a:cubicBezTo>
                    <a:pt x="64" y="30"/>
                    <a:pt x="65" y="40"/>
                    <a:pt x="54" y="41"/>
                  </a:cubicBezTo>
                  <a:cubicBezTo>
                    <a:pt x="54" y="41"/>
                    <a:pt x="57" y="53"/>
                    <a:pt x="43" y="55"/>
                  </a:cubicBezTo>
                  <a:cubicBezTo>
                    <a:pt x="43" y="55"/>
                    <a:pt x="39" y="68"/>
                    <a:pt x="30" y="65"/>
                  </a:cubicBezTo>
                  <a:cubicBezTo>
                    <a:pt x="21" y="62"/>
                    <a:pt x="15" y="58"/>
                    <a:pt x="15" y="58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0" y="49"/>
                    <a:pt x="3" y="42"/>
                  </a:cubicBezTo>
                  <a:cubicBezTo>
                    <a:pt x="5" y="37"/>
                    <a:pt x="12" y="36"/>
                    <a:pt x="12" y="36"/>
                  </a:cubicBezTo>
                  <a:cubicBezTo>
                    <a:pt x="12" y="36"/>
                    <a:pt x="9" y="30"/>
                    <a:pt x="12" y="25"/>
                  </a:cubicBezTo>
                  <a:cubicBezTo>
                    <a:pt x="16" y="21"/>
                    <a:pt x="26" y="24"/>
                    <a:pt x="26" y="24"/>
                  </a:cubicBezTo>
                  <a:cubicBezTo>
                    <a:pt x="26" y="24"/>
                    <a:pt x="25" y="19"/>
                    <a:pt x="29" y="14"/>
                  </a:cubicBezTo>
                  <a:cubicBezTo>
                    <a:pt x="32" y="10"/>
                    <a:pt x="48" y="21"/>
                    <a:pt x="48" y="21"/>
                  </a:cubicBezTo>
                  <a:cubicBezTo>
                    <a:pt x="57" y="11"/>
                    <a:pt x="57" y="11"/>
                    <a:pt x="57" y="11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6" name="Freeform 349">
              <a:extLst>
                <a:ext uri="{FF2B5EF4-FFF2-40B4-BE49-F238E27FC236}">
                  <a16:creationId xmlns:a16="http://schemas.microsoft.com/office/drawing/2014/main" id="{74A21E95-71D1-DF20-DA13-EBBBA6EC7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2354"/>
              <a:ext cx="53" cy="33"/>
            </a:xfrm>
            <a:custGeom>
              <a:avLst/>
              <a:gdLst>
                <a:gd name="T0" fmla="*/ 32 w 32"/>
                <a:gd name="T1" fmla="*/ 19 h 20"/>
                <a:gd name="T2" fmla="*/ 16 w 32"/>
                <a:gd name="T3" fmla="*/ 10 h 20"/>
                <a:gd name="T4" fmla="*/ 1 w 32"/>
                <a:gd name="T5" fmla="*/ 0 h 20"/>
                <a:gd name="T6" fmla="*/ 17 w 32"/>
                <a:gd name="T7" fmla="*/ 9 h 20"/>
                <a:gd name="T8" fmla="*/ 32 w 32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9"/>
                  </a:moveTo>
                  <a:cubicBezTo>
                    <a:pt x="32" y="20"/>
                    <a:pt x="24" y="16"/>
                    <a:pt x="16" y="10"/>
                  </a:cubicBezTo>
                  <a:cubicBezTo>
                    <a:pt x="7" y="5"/>
                    <a:pt x="0" y="0"/>
                    <a:pt x="1" y="0"/>
                  </a:cubicBezTo>
                  <a:cubicBezTo>
                    <a:pt x="1" y="0"/>
                    <a:pt x="8" y="4"/>
                    <a:pt x="17" y="9"/>
                  </a:cubicBezTo>
                  <a:cubicBezTo>
                    <a:pt x="25" y="14"/>
                    <a:pt x="32" y="19"/>
                    <a:pt x="32" y="19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7" name="Freeform 350">
              <a:extLst>
                <a:ext uri="{FF2B5EF4-FFF2-40B4-BE49-F238E27FC236}">
                  <a16:creationId xmlns:a16="http://schemas.microsoft.com/office/drawing/2014/main" id="{9FDB83DF-9C1C-33E0-9ECB-154056E73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4" y="2333"/>
              <a:ext cx="50" cy="31"/>
            </a:xfrm>
            <a:custGeom>
              <a:avLst/>
              <a:gdLst>
                <a:gd name="T0" fmla="*/ 29 w 30"/>
                <a:gd name="T1" fmla="*/ 18 h 19"/>
                <a:gd name="T2" fmla="*/ 15 w 30"/>
                <a:gd name="T3" fmla="*/ 10 h 19"/>
                <a:gd name="T4" fmla="*/ 1 w 30"/>
                <a:gd name="T5" fmla="*/ 1 h 19"/>
                <a:gd name="T6" fmla="*/ 16 w 30"/>
                <a:gd name="T7" fmla="*/ 9 h 19"/>
                <a:gd name="T8" fmla="*/ 29 w 30"/>
                <a:gd name="T9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18"/>
                  </a:moveTo>
                  <a:cubicBezTo>
                    <a:pt x="29" y="19"/>
                    <a:pt x="23" y="15"/>
                    <a:pt x="15" y="10"/>
                  </a:cubicBezTo>
                  <a:cubicBezTo>
                    <a:pt x="7" y="6"/>
                    <a:pt x="0" y="1"/>
                    <a:pt x="1" y="1"/>
                  </a:cubicBezTo>
                  <a:cubicBezTo>
                    <a:pt x="1" y="0"/>
                    <a:pt x="8" y="4"/>
                    <a:pt x="16" y="9"/>
                  </a:cubicBezTo>
                  <a:cubicBezTo>
                    <a:pt x="24" y="14"/>
                    <a:pt x="30" y="18"/>
                    <a:pt x="29" y="18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8" name="Freeform 351">
              <a:extLst>
                <a:ext uri="{FF2B5EF4-FFF2-40B4-BE49-F238E27FC236}">
                  <a16:creationId xmlns:a16="http://schemas.microsoft.com/office/drawing/2014/main" id="{35597048-722C-54E2-789C-21F0981BA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" y="2320"/>
              <a:ext cx="43" cy="26"/>
            </a:xfrm>
            <a:custGeom>
              <a:avLst/>
              <a:gdLst>
                <a:gd name="T0" fmla="*/ 1 w 26"/>
                <a:gd name="T1" fmla="*/ 0 h 16"/>
                <a:gd name="T2" fmla="*/ 14 w 26"/>
                <a:gd name="T3" fmla="*/ 7 h 16"/>
                <a:gd name="T4" fmla="*/ 26 w 26"/>
                <a:gd name="T5" fmla="*/ 15 h 16"/>
                <a:gd name="T6" fmla="*/ 13 w 26"/>
                <a:gd name="T7" fmla="*/ 9 h 16"/>
                <a:gd name="T8" fmla="*/ 1 w 2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6">
                  <a:moveTo>
                    <a:pt x="1" y="0"/>
                  </a:moveTo>
                  <a:cubicBezTo>
                    <a:pt x="1" y="0"/>
                    <a:pt x="7" y="3"/>
                    <a:pt x="14" y="7"/>
                  </a:cubicBezTo>
                  <a:cubicBezTo>
                    <a:pt x="21" y="12"/>
                    <a:pt x="26" y="15"/>
                    <a:pt x="26" y="15"/>
                  </a:cubicBezTo>
                  <a:cubicBezTo>
                    <a:pt x="26" y="16"/>
                    <a:pt x="20" y="13"/>
                    <a:pt x="13" y="9"/>
                  </a:cubicBezTo>
                  <a:cubicBezTo>
                    <a:pt x="6" y="4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9" name="Freeform 352">
              <a:extLst>
                <a:ext uri="{FF2B5EF4-FFF2-40B4-BE49-F238E27FC236}">
                  <a16:creationId xmlns:a16="http://schemas.microsoft.com/office/drawing/2014/main" id="{D352453B-6399-469F-AF86-D07DF427D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6" y="2167"/>
              <a:ext cx="443" cy="237"/>
            </a:xfrm>
            <a:custGeom>
              <a:avLst/>
              <a:gdLst>
                <a:gd name="T0" fmla="*/ 269 w 269"/>
                <a:gd name="T1" fmla="*/ 1 h 144"/>
                <a:gd name="T2" fmla="*/ 269 w 269"/>
                <a:gd name="T3" fmla="*/ 1 h 144"/>
                <a:gd name="T4" fmla="*/ 266 w 269"/>
                <a:gd name="T5" fmla="*/ 1 h 144"/>
                <a:gd name="T6" fmla="*/ 256 w 269"/>
                <a:gd name="T7" fmla="*/ 2 h 144"/>
                <a:gd name="T8" fmla="*/ 218 w 269"/>
                <a:gd name="T9" fmla="*/ 2 h 144"/>
                <a:gd name="T10" fmla="*/ 93 w 269"/>
                <a:gd name="T11" fmla="*/ 2 h 144"/>
                <a:gd name="T12" fmla="*/ 84 w 269"/>
                <a:gd name="T13" fmla="*/ 2 h 144"/>
                <a:gd name="T14" fmla="*/ 77 w 269"/>
                <a:gd name="T15" fmla="*/ 5 h 144"/>
                <a:gd name="T16" fmla="*/ 69 w 269"/>
                <a:gd name="T17" fmla="*/ 21 h 144"/>
                <a:gd name="T18" fmla="*/ 52 w 269"/>
                <a:gd name="T19" fmla="*/ 50 h 144"/>
                <a:gd name="T20" fmla="*/ 25 w 269"/>
                <a:gd name="T21" fmla="*/ 99 h 144"/>
                <a:gd name="T22" fmla="*/ 7 w 269"/>
                <a:gd name="T23" fmla="*/ 132 h 144"/>
                <a:gd name="T24" fmla="*/ 2 w 269"/>
                <a:gd name="T25" fmla="*/ 141 h 144"/>
                <a:gd name="T26" fmla="*/ 0 w 269"/>
                <a:gd name="T27" fmla="*/ 143 h 144"/>
                <a:gd name="T28" fmla="*/ 0 w 269"/>
                <a:gd name="T29" fmla="*/ 144 h 144"/>
                <a:gd name="T30" fmla="*/ 0 w 269"/>
                <a:gd name="T31" fmla="*/ 143 h 144"/>
                <a:gd name="T32" fmla="*/ 1 w 269"/>
                <a:gd name="T33" fmla="*/ 140 h 144"/>
                <a:gd name="T34" fmla="*/ 6 w 269"/>
                <a:gd name="T35" fmla="*/ 131 h 144"/>
                <a:gd name="T36" fmla="*/ 24 w 269"/>
                <a:gd name="T37" fmla="*/ 98 h 144"/>
                <a:gd name="T38" fmla="*/ 51 w 269"/>
                <a:gd name="T39" fmla="*/ 49 h 144"/>
                <a:gd name="T40" fmla="*/ 67 w 269"/>
                <a:gd name="T41" fmla="*/ 20 h 144"/>
                <a:gd name="T42" fmla="*/ 75 w 269"/>
                <a:gd name="T43" fmla="*/ 4 h 144"/>
                <a:gd name="T44" fmla="*/ 84 w 269"/>
                <a:gd name="T45" fmla="*/ 0 h 144"/>
                <a:gd name="T46" fmla="*/ 93 w 269"/>
                <a:gd name="T47" fmla="*/ 0 h 144"/>
                <a:gd name="T48" fmla="*/ 218 w 269"/>
                <a:gd name="T49" fmla="*/ 1 h 144"/>
                <a:gd name="T50" fmla="*/ 256 w 269"/>
                <a:gd name="T51" fmla="*/ 1 h 144"/>
                <a:gd name="T52" fmla="*/ 266 w 269"/>
                <a:gd name="T53" fmla="*/ 1 h 144"/>
                <a:gd name="T54" fmla="*/ 269 w 269"/>
                <a:gd name="T55" fmla="*/ 1 h 144"/>
                <a:gd name="T56" fmla="*/ 269 w 269"/>
                <a:gd name="T57" fmla="*/ 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9" h="144">
                  <a:moveTo>
                    <a:pt x="269" y="1"/>
                  </a:moveTo>
                  <a:cubicBezTo>
                    <a:pt x="269" y="1"/>
                    <a:pt x="269" y="1"/>
                    <a:pt x="269" y="1"/>
                  </a:cubicBezTo>
                  <a:cubicBezTo>
                    <a:pt x="268" y="1"/>
                    <a:pt x="267" y="1"/>
                    <a:pt x="266" y="1"/>
                  </a:cubicBezTo>
                  <a:cubicBezTo>
                    <a:pt x="263" y="1"/>
                    <a:pt x="260" y="2"/>
                    <a:pt x="256" y="2"/>
                  </a:cubicBezTo>
                  <a:cubicBezTo>
                    <a:pt x="247" y="2"/>
                    <a:pt x="234" y="2"/>
                    <a:pt x="218" y="2"/>
                  </a:cubicBezTo>
                  <a:cubicBezTo>
                    <a:pt x="186" y="2"/>
                    <a:pt x="142" y="2"/>
                    <a:pt x="93" y="2"/>
                  </a:cubicBezTo>
                  <a:cubicBezTo>
                    <a:pt x="90" y="2"/>
                    <a:pt x="87" y="2"/>
                    <a:pt x="84" y="2"/>
                  </a:cubicBezTo>
                  <a:cubicBezTo>
                    <a:pt x="81" y="2"/>
                    <a:pt x="78" y="3"/>
                    <a:pt x="77" y="5"/>
                  </a:cubicBezTo>
                  <a:cubicBezTo>
                    <a:pt x="74" y="11"/>
                    <a:pt x="71" y="16"/>
                    <a:pt x="69" y="21"/>
                  </a:cubicBezTo>
                  <a:cubicBezTo>
                    <a:pt x="63" y="31"/>
                    <a:pt x="58" y="40"/>
                    <a:pt x="52" y="50"/>
                  </a:cubicBezTo>
                  <a:cubicBezTo>
                    <a:pt x="42" y="68"/>
                    <a:pt x="33" y="85"/>
                    <a:pt x="25" y="99"/>
                  </a:cubicBezTo>
                  <a:cubicBezTo>
                    <a:pt x="17" y="113"/>
                    <a:pt x="11" y="124"/>
                    <a:pt x="7" y="132"/>
                  </a:cubicBezTo>
                  <a:cubicBezTo>
                    <a:pt x="4" y="135"/>
                    <a:pt x="3" y="138"/>
                    <a:pt x="2" y="141"/>
                  </a:cubicBezTo>
                  <a:cubicBezTo>
                    <a:pt x="1" y="142"/>
                    <a:pt x="1" y="142"/>
                    <a:pt x="0" y="143"/>
                  </a:cubicBezTo>
                  <a:cubicBezTo>
                    <a:pt x="0" y="143"/>
                    <a:pt x="0" y="144"/>
                    <a:pt x="0" y="144"/>
                  </a:cubicBezTo>
                  <a:cubicBezTo>
                    <a:pt x="0" y="144"/>
                    <a:pt x="0" y="143"/>
                    <a:pt x="0" y="143"/>
                  </a:cubicBezTo>
                  <a:cubicBezTo>
                    <a:pt x="0" y="142"/>
                    <a:pt x="1" y="141"/>
                    <a:pt x="1" y="140"/>
                  </a:cubicBezTo>
                  <a:cubicBezTo>
                    <a:pt x="2" y="138"/>
                    <a:pt x="4" y="135"/>
                    <a:pt x="6" y="131"/>
                  </a:cubicBezTo>
                  <a:cubicBezTo>
                    <a:pt x="10" y="123"/>
                    <a:pt x="16" y="112"/>
                    <a:pt x="24" y="98"/>
                  </a:cubicBezTo>
                  <a:cubicBezTo>
                    <a:pt x="32" y="84"/>
                    <a:pt x="41" y="67"/>
                    <a:pt x="51" y="49"/>
                  </a:cubicBezTo>
                  <a:cubicBezTo>
                    <a:pt x="56" y="40"/>
                    <a:pt x="61" y="30"/>
                    <a:pt x="67" y="20"/>
                  </a:cubicBezTo>
                  <a:cubicBezTo>
                    <a:pt x="70" y="15"/>
                    <a:pt x="73" y="10"/>
                    <a:pt x="75" y="4"/>
                  </a:cubicBezTo>
                  <a:cubicBezTo>
                    <a:pt x="77" y="2"/>
                    <a:pt x="81" y="0"/>
                    <a:pt x="84" y="0"/>
                  </a:cubicBezTo>
                  <a:cubicBezTo>
                    <a:pt x="87" y="0"/>
                    <a:pt x="90" y="0"/>
                    <a:pt x="93" y="0"/>
                  </a:cubicBezTo>
                  <a:cubicBezTo>
                    <a:pt x="142" y="0"/>
                    <a:pt x="186" y="0"/>
                    <a:pt x="218" y="1"/>
                  </a:cubicBezTo>
                  <a:cubicBezTo>
                    <a:pt x="234" y="1"/>
                    <a:pt x="247" y="1"/>
                    <a:pt x="256" y="1"/>
                  </a:cubicBezTo>
                  <a:cubicBezTo>
                    <a:pt x="260" y="1"/>
                    <a:pt x="263" y="1"/>
                    <a:pt x="266" y="1"/>
                  </a:cubicBezTo>
                  <a:cubicBezTo>
                    <a:pt x="267" y="1"/>
                    <a:pt x="268" y="1"/>
                    <a:pt x="269" y="1"/>
                  </a:cubicBezTo>
                  <a:cubicBezTo>
                    <a:pt x="269" y="1"/>
                    <a:pt x="269" y="1"/>
                    <a:pt x="26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0" name="Freeform 353">
              <a:extLst>
                <a:ext uri="{FF2B5EF4-FFF2-40B4-BE49-F238E27FC236}">
                  <a16:creationId xmlns:a16="http://schemas.microsoft.com/office/drawing/2014/main" id="{EC2CC583-9B0A-DEF4-6417-3CB1E41C7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" y="2270"/>
              <a:ext cx="31" cy="33"/>
            </a:xfrm>
            <a:custGeom>
              <a:avLst/>
              <a:gdLst>
                <a:gd name="T0" fmla="*/ 3 w 19"/>
                <a:gd name="T1" fmla="*/ 5 h 20"/>
                <a:gd name="T2" fmla="*/ 3 w 19"/>
                <a:gd name="T3" fmla="*/ 17 h 20"/>
                <a:gd name="T4" fmla="*/ 15 w 19"/>
                <a:gd name="T5" fmla="*/ 15 h 20"/>
                <a:gd name="T6" fmla="*/ 15 w 19"/>
                <a:gd name="T7" fmla="*/ 3 h 20"/>
                <a:gd name="T8" fmla="*/ 3 w 19"/>
                <a:gd name="T9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3" y="5"/>
                  </a:moveTo>
                  <a:cubicBezTo>
                    <a:pt x="0" y="8"/>
                    <a:pt x="0" y="14"/>
                    <a:pt x="3" y="17"/>
                  </a:cubicBezTo>
                  <a:cubicBezTo>
                    <a:pt x="7" y="20"/>
                    <a:pt x="12" y="19"/>
                    <a:pt x="15" y="15"/>
                  </a:cubicBezTo>
                  <a:cubicBezTo>
                    <a:pt x="19" y="12"/>
                    <a:pt x="19" y="6"/>
                    <a:pt x="15" y="3"/>
                  </a:cubicBezTo>
                  <a:cubicBezTo>
                    <a:pt x="12" y="0"/>
                    <a:pt x="7" y="1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1" name="Freeform 354">
              <a:extLst>
                <a:ext uri="{FF2B5EF4-FFF2-40B4-BE49-F238E27FC236}">
                  <a16:creationId xmlns:a16="http://schemas.microsoft.com/office/drawing/2014/main" id="{D41F29D3-AC01-BAAE-E62A-3D65C2A5B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0" y="2463"/>
              <a:ext cx="262" cy="496"/>
            </a:xfrm>
            <a:custGeom>
              <a:avLst/>
              <a:gdLst>
                <a:gd name="T0" fmla="*/ 83 w 159"/>
                <a:gd name="T1" fmla="*/ 301 h 301"/>
                <a:gd name="T2" fmla="*/ 84 w 159"/>
                <a:gd name="T3" fmla="*/ 300 h 301"/>
                <a:gd name="T4" fmla="*/ 85 w 159"/>
                <a:gd name="T5" fmla="*/ 298 h 301"/>
                <a:gd name="T6" fmla="*/ 88 w 159"/>
                <a:gd name="T7" fmla="*/ 288 h 301"/>
                <a:gd name="T8" fmla="*/ 103 w 159"/>
                <a:gd name="T9" fmla="*/ 254 h 301"/>
                <a:gd name="T10" fmla="*/ 153 w 159"/>
                <a:gd name="T11" fmla="*/ 139 h 301"/>
                <a:gd name="T12" fmla="*/ 152 w 159"/>
                <a:gd name="T13" fmla="*/ 139 h 301"/>
                <a:gd name="T14" fmla="*/ 157 w 159"/>
                <a:gd name="T15" fmla="*/ 104 h 301"/>
                <a:gd name="T16" fmla="*/ 149 w 159"/>
                <a:gd name="T17" fmla="*/ 63 h 301"/>
                <a:gd name="T18" fmla="*/ 138 w 159"/>
                <a:gd name="T19" fmla="*/ 46 h 301"/>
                <a:gd name="T20" fmla="*/ 124 w 159"/>
                <a:gd name="T21" fmla="*/ 33 h 301"/>
                <a:gd name="T22" fmla="*/ 107 w 159"/>
                <a:gd name="T23" fmla="*/ 25 h 301"/>
                <a:gd name="T24" fmla="*/ 91 w 159"/>
                <a:gd name="T25" fmla="*/ 19 h 301"/>
                <a:gd name="T26" fmla="*/ 61 w 159"/>
                <a:gd name="T27" fmla="*/ 10 h 301"/>
                <a:gd name="T28" fmla="*/ 16 w 159"/>
                <a:gd name="T29" fmla="*/ 2 h 301"/>
                <a:gd name="T30" fmla="*/ 4 w 159"/>
                <a:gd name="T31" fmla="*/ 0 h 301"/>
                <a:gd name="T32" fmla="*/ 1 w 159"/>
                <a:gd name="T33" fmla="*/ 0 h 301"/>
                <a:gd name="T34" fmla="*/ 0 w 159"/>
                <a:gd name="T35" fmla="*/ 0 h 301"/>
                <a:gd name="T36" fmla="*/ 1 w 159"/>
                <a:gd name="T37" fmla="*/ 0 h 301"/>
                <a:gd name="T38" fmla="*/ 4 w 159"/>
                <a:gd name="T39" fmla="*/ 0 h 301"/>
                <a:gd name="T40" fmla="*/ 16 w 159"/>
                <a:gd name="T41" fmla="*/ 1 h 301"/>
                <a:gd name="T42" fmla="*/ 61 w 159"/>
                <a:gd name="T43" fmla="*/ 9 h 301"/>
                <a:gd name="T44" fmla="*/ 92 w 159"/>
                <a:gd name="T45" fmla="*/ 17 h 301"/>
                <a:gd name="T46" fmla="*/ 108 w 159"/>
                <a:gd name="T47" fmla="*/ 23 h 301"/>
                <a:gd name="T48" fmla="*/ 125 w 159"/>
                <a:gd name="T49" fmla="*/ 31 h 301"/>
                <a:gd name="T50" fmla="*/ 139 w 159"/>
                <a:gd name="T51" fmla="*/ 45 h 301"/>
                <a:gd name="T52" fmla="*/ 151 w 159"/>
                <a:gd name="T53" fmla="*/ 62 h 301"/>
                <a:gd name="T54" fmla="*/ 159 w 159"/>
                <a:gd name="T55" fmla="*/ 104 h 301"/>
                <a:gd name="T56" fmla="*/ 154 w 159"/>
                <a:gd name="T57" fmla="*/ 140 h 301"/>
                <a:gd name="T58" fmla="*/ 154 w 159"/>
                <a:gd name="T59" fmla="*/ 140 h 301"/>
                <a:gd name="T60" fmla="*/ 154 w 159"/>
                <a:gd name="T61" fmla="*/ 140 h 301"/>
                <a:gd name="T62" fmla="*/ 104 w 159"/>
                <a:gd name="T63" fmla="*/ 255 h 301"/>
                <a:gd name="T64" fmla="*/ 89 w 159"/>
                <a:gd name="T65" fmla="*/ 289 h 301"/>
                <a:gd name="T66" fmla="*/ 85 w 159"/>
                <a:gd name="T67" fmla="*/ 298 h 301"/>
                <a:gd name="T68" fmla="*/ 84 w 159"/>
                <a:gd name="T69" fmla="*/ 300 h 301"/>
                <a:gd name="T70" fmla="*/ 83 w 159"/>
                <a:gd name="T71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301">
                  <a:moveTo>
                    <a:pt x="83" y="301"/>
                  </a:moveTo>
                  <a:cubicBezTo>
                    <a:pt x="83" y="301"/>
                    <a:pt x="83" y="301"/>
                    <a:pt x="84" y="300"/>
                  </a:cubicBezTo>
                  <a:cubicBezTo>
                    <a:pt x="84" y="299"/>
                    <a:pt x="84" y="299"/>
                    <a:pt x="85" y="298"/>
                  </a:cubicBezTo>
                  <a:cubicBezTo>
                    <a:pt x="86" y="295"/>
                    <a:pt x="87" y="292"/>
                    <a:pt x="88" y="288"/>
                  </a:cubicBezTo>
                  <a:cubicBezTo>
                    <a:pt x="92" y="280"/>
                    <a:pt x="97" y="269"/>
                    <a:pt x="103" y="254"/>
                  </a:cubicBezTo>
                  <a:cubicBezTo>
                    <a:pt x="115" y="225"/>
                    <a:pt x="133" y="185"/>
                    <a:pt x="153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5" y="128"/>
                    <a:pt x="157" y="116"/>
                    <a:pt x="157" y="104"/>
                  </a:cubicBezTo>
                  <a:cubicBezTo>
                    <a:pt x="157" y="89"/>
                    <a:pt x="155" y="75"/>
                    <a:pt x="149" y="63"/>
                  </a:cubicBezTo>
                  <a:cubicBezTo>
                    <a:pt x="146" y="56"/>
                    <a:pt x="142" y="51"/>
                    <a:pt x="138" y="46"/>
                  </a:cubicBezTo>
                  <a:cubicBezTo>
                    <a:pt x="133" y="41"/>
                    <a:pt x="129" y="36"/>
                    <a:pt x="124" y="33"/>
                  </a:cubicBezTo>
                  <a:cubicBezTo>
                    <a:pt x="119" y="29"/>
                    <a:pt x="113" y="27"/>
                    <a:pt x="107" y="25"/>
                  </a:cubicBezTo>
                  <a:cubicBezTo>
                    <a:pt x="102" y="23"/>
                    <a:pt x="96" y="21"/>
                    <a:pt x="91" y="19"/>
                  </a:cubicBezTo>
                  <a:cubicBezTo>
                    <a:pt x="80" y="15"/>
                    <a:pt x="70" y="13"/>
                    <a:pt x="61" y="10"/>
                  </a:cubicBezTo>
                  <a:cubicBezTo>
                    <a:pt x="42" y="6"/>
                    <a:pt x="27" y="4"/>
                    <a:pt x="16" y="2"/>
                  </a:cubicBezTo>
                  <a:cubicBezTo>
                    <a:pt x="11" y="1"/>
                    <a:pt x="7" y="1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7" y="0"/>
                    <a:pt x="11" y="1"/>
                    <a:pt x="16" y="1"/>
                  </a:cubicBezTo>
                  <a:cubicBezTo>
                    <a:pt x="27" y="3"/>
                    <a:pt x="43" y="5"/>
                    <a:pt x="61" y="9"/>
                  </a:cubicBezTo>
                  <a:cubicBezTo>
                    <a:pt x="71" y="11"/>
                    <a:pt x="81" y="14"/>
                    <a:pt x="92" y="17"/>
                  </a:cubicBezTo>
                  <a:cubicBezTo>
                    <a:pt x="97" y="19"/>
                    <a:pt x="103" y="21"/>
                    <a:pt x="108" y="23"/>
                  </a:cubicBezTo>
                  <a:cubicBezTo>
                    <a:pt x="114" y="25"/>
                    <a:pt x="120" y="27"/>
                    <a:pt x="125" y="31"/>
                  </a:cubicBezTo>
                  <a:cubicBezTo>
                    <a:pt x="130" y="35"/>
                    <a:pt x="135" y="40"/>
                    <a:pt x="139" y="45"/>
                  </a:cubicBezTo>
                  <a:cubicBezTo>
                    <a:pt x="143" y="50"/>
                    <a:pt x="148" y="55"/>
                    <a:pt x="151" y="62"/>
                  </a:cubicBezTo>
                  <a:cubicBezTo>
                    <a:pt x="157" y="74"/>
                    <a:pt x="159" y="89"/>
                    <a:pt x="159" y="104"/>
                  </a:cubicBezTo>
                  <a:cubicBezTo>
                    <a:pt x="159" y="116"/>
                    <a:pt x="157" y="128"/>
                    <a:pt x="154" y="140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34" y="186"/>
                    <a:pt x="117" y="226"/>
                    <a:pt x="104" y="255"/>
                  </a:cubicBezTo>
                  <a:cubicBezTo>
                    <a:pt x="98" y="269"/>
                    <a:pt x="93" y="281"/>
                    <a:pt x="89" y="289"/>
                  </a:cubicBezTo>
                  <a:cubicBezTo>
                    <a:pt x="87" y="293"/>
                    <a:pt x="86" y="296"/>
                    <a:pt x="85" y="298"/>
                  </a:cubicBezTo>
                  <a:cubicBezTo>
                    <a:pt x="85" y="299"/>
                    <a:pt x="84" y="299"/>
                    <a:pt x="84" y="300"/>
                  </a:cubicBezTo>
                  <a:cubicBezTo>
                    <a:pt x="84" y="301"/>
                    <a:pt x="83" y="301"/>
                    <a:pt x="83" y="30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Freeform 355">
              <a:extLst>
                <a:ext uri="{FF2B5EF4-FFF2-40B4-BE49-F238E27FC236}">
                  <a16:creationId xmlns:a16="http://schemas.microsoft.com/office/drawing/2014/main" id="{175870D6-40AE-66B5-D0AF-1C45426C5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8" y="2465"/>
              <a:ext cx="63" cy="989"/>
            </a:xfrm>
            <a:custGeom>
              <a:avLst/>
              <a:gdLst>
                <a:gd name="T0" fmla="*/ 46 w 63"/>
                <a:gd name="T1" fmla="*/ 989 h 989"/>
                <a:gd name="T2" fmla="*/ 16 w 63"/>
                <a:gd name="T3" fmla="*/ 989 h 989"/>
                <a:gd name="T4" fmla="*/ 0 w 63"/>
                <a:gd name="T5" fmla="*/ 0 h 989"/>
                <a:gd name="T6" fmla="*/ 63 w 63"/>
                <a:gd name="T7" fmla="*/ 0 h 989"/>
                <a:gd name="T8" fmla="*/ 46 w 63"/>
                <a:gd name="T9" fmla="*/ 989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989">
                  <a:moveTo>
                    <a:pt x="46" y="989"/>
                  </a:moveTo>
                  <a:lnTo>
                    <a:pt x="16" y="989"/>
                  </a:lnTo>
                  <a:lnTo>
                    <a:pt x="0" y="0"/>
                  </a:lnTo>
                  <a:lnTo>
                    <a:pt x="63" y="0"/>
                  </a:lnTo>
                  <a:lnTo>
                    <a:pt x="46" y="989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3" name="Freeform 356">
              <a:extLst>
                <a:ext uri="{FF2B5EF4-FFF2-40B4-BE49-F238E27FC236}">
                  <a16:creationId xmlns:a16="http://schemas.microsoft.com/office/drawing/2014/main" id="{E5B6961E-C6D9-7D22-E7C1-37D2F1F5C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" y="2463"/>
              <a:ext cx="66" cy="993"/>
            </a:xfrm>
            <a:custGeom>
              <a:avLst/>
              <a:gdLst>
                <a:gd name="T0" fmla="*/ 29 w 40"/>
                <a:gd name="T1" fmla="*/ 602 h 603"/>
                <a:gd name="T2" fmla="*/ 29 w 40"/>
                <a:gd name="T3" fmla="*/ 599 h 603"/>
                <a:gd name="T4" fmla="*/ 29 w 40"/>
                <a:gd name="T5" fmla="*/ 590 h 603"/>
                <a:gd name="T6" fmla="*/ 29 w 40"/>
                <a:gd name="T7" fmla="*/ 555 h 603"/>
                <a:gd name="T8" fmla="*/ 31 w 40"/>
                <a:gd name="T9" fmla="*/ 427 h 603"/>
                <a:gd name="T10" fmla="*/ 37 w 40"/>
                <a:gd name="T11" fmla="*/ 1 h 603"/>
                <a:gd name="T12" fmla="*/ 39 w 40"/>
                <a:gd name="T13" fmla="*/ 2 h 603"/>
                <a:gd name="T14" fmla="*/ 11 w 40"/>
                <a:gd name="T15" fmla="*/ 2 h 603"/>
                <a:gd name="T16" fmla="*/ 1 w 40"/>
                <a:gd name="T17" fmla="*/ 2 h 603"/>
                <a:gd name="T18" fmla="*/ 2 w 40"/>
                <a:gd name="T19" fmla="*/ 1 h 603"/>
                <a:gd name="T20" fmla="*/ 11 w 40"/>
                <a:gd name="T21" fmla="*/ 602 h 603"/>
                <a:gd name="T22" fmla="*/ 11 w 40"/>
                <a:gd name="T23" fmla="*/ 602 h 603"/>
                <a:gd name="T24" fmla="*/ 24 w 40"/>
                <a:gd name="T25" fmla="*/ 602 h 603"/>
                <a:gd name="T26" fmla="*/ 29 w 40"/>
                <a:gd name="T27" fmla="*/ 602 h 603"/>
                <a:gd name="T28" fmla="*/ 24 w 40"/>
                <a:gd name="T29" fmla="*/ 602 h 603"/>
                <a:gd name="T30" fmla="*/ 11 w 40"/>
                <a:gd name="T31" fmla="*/ 603 h 603"/>
                <a:gd name="T32" fmla="*/ 11 w 40"/>
                <a:gd name="T33" fmla="*/ 603 h 603"/>
                <a:gd name="T34" fmla="*/ 11 w 40"/>
                <a:gd name="T35" fmla="*/ 602 h 603"/>
                <a:gd name="T36" fmla="*/ 0 w 40"/>
                <a:gd name="T37" fmla="*/ 1 h 603"/>
                <a:gd name="T38" fmla="*/ 0 w 40"/>
                <a:gd name="T39" fmla="*/ 0 h 603"/>
                <a:gd name="T40" fmla="*/ 1 w 40"/>
                <a:gd name="T41" fmla="*/ 0 h 603"/>
                <a:gd name="T42" fmla="*/ 11 w 40"/>
                <a:gd name="T43" fmla="*/ 0 h 603"/>
                <a:gd name="T44" fmla="*/ 39 w 40"/>
                <a:gd name="T45" fmla="*/ 0 h 603"/>
                <a:gd name="T46" fmla="*/ 40 w 40"/>
                <a:gd name="T47" fmla="*/ 0 h 603"/>
                <a:gd name="T48" fmla="*/ 40 w 40"/>
                <a:gd name="T49" fmla="*/ 1 h 603"/>
                <a:gd name="T50" fmla="*/ 32 w 40"/>
                <a:gd name="T51" fmla="*/ 428 h 603"/>
                <a:gd name="T52" fmla="*/ 30 w 40"/>
                <a:gd name="T53" fmla="*/ 556 h 603"/>
                <a:gd name="T54" fmla="*/ 29 w 40"/>
                <a:gd name="T55" fmla="*/ 590 h 603"/>
                <a:gd name="T56" fmla="*/ 29 w 40"/>
                <a:gd name="T57" fmla="*/ 599 h 603"/>
                <a:gd name="T58" fmla="*/ 29 w 40"/>
                <a:gd name="T59" fmla="*/ 60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" h="603">
                  <a:moveTo>
                    <a:pt x="29" y="602"/>
                  </a:moveTo>
                  <a:cubicBezTo>
                    <a:pt x="29" y="602"/>
                    <a:pt x="29" y="601"/>
                    <a:pt x="29" y="599"/>
                  </a:cubicBezTo>
                  <a:cubicBezTo>
                    <a:pt x="29" y="597"/>
                    <a:pt x="29" y="594"/>
                    <a:pt x="29" y="590"/>
                  </a:cubicBezTo>
                  <a:cubicBezTo>
                    <a:pt x="29" y="582"/>
                    <a:pt x="29" y="570"/>
                    <a:pt x="29" y="555"/>
                  </a:cubicBezTo>
                  <a:cubicBezTo>
                    <a:pt x="29" y="525"/>
                    <a:pt x="30" y="481"/>
                    <a:pt x="31" y="427"/>
                  </a:cubicBezTo>
                  <a:cubicBezTo>
                    <a:pt x="33" y="318"/>
                    <a:pt x="35" y="168"/>
                    <a:pt x="37" y="1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0" y="2"/>
                    <a:pt x="20" y="2"/>
                    <a:pt x="11" y="2"/>
                  </a:cubicBezTo>
                  <a:cubicBezTo>
                    <a:pt x="8" y="2"/>
                    <a:pt x="4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7" y="295"/>
                    <a:pt x="11" y="540"/>
                    <a:pt x="11" y="602"/>
                  </a:cubicBezTo>
                  <a:cubicBezTo>
                    <a:pt x="11" y="602"/>
                    <a:pt x="11" y="602"/>
                    <a:pt x="11" y="602"/>
                  </a:cubicBezTo>
                  <a:cubicBezTo>
                    <a:pt x="17" y="602"/>
                    <a:pt x="21" y="602"/>
                    <a:pt x="24" y="602"/>
                  </a:cubicBezTo>
                  <a:cubicBezTo>
                    <a:pt x="27" y="602"/>
                    <a:pt x="29" y="602"/>
                    <a:pt x="29" y="602"/>
                  </a:cubicBezTo>
                  <a:cubicBezTo>
                    <a:pt x="29" y="602"/>
                    <a:pt x="27" y="602"/>
                    <a:pt x="24" y="602"/>
                  </a:cubicBezTo>
                  <a:cubicBezTo>
                    <a:pt x="21" y="602"/>
                    <a:pt x="17" y="603"/>
                    <a:pt x="11" y="603"/>
                  </a:cubicBezTo>
                  <a:cubicBezTo>
                    <a:pt x="11" y="603"/>
                    <a:pt x="11" y="603"/>
                    <a:pt x="11" y="603"/>
                  </a:cubicBezTo>
                  <a:cubicBezTo>
                    <a:pt x="11" y="602"/>
                    <a:pt x="11" y="602"/>
                    <a:pt x="11" y="602"/>
                  </a:cubicBezTo>
                  <a:cubicBezTo>
                    <a:pt x="9" y="540"/>
                    <a:pt x="5" y="29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0"/>
                    <a:pt x="8" y="0"/>
                    <a:pt x="11" y="0"/>
                  </a:cubicBezTo>
                  <a:cubicBezTo>
                    <a:pt x="20" y="0"/>
                    <a:pt x="30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169"/>
                    <a:pt x="34" y="319"/>
                    <a:pt x="32" y="428"/>
                  </a:cubicBezTo>
                  <a:cubicBezTo>
                    <a:pt x="31" y="482"/>
                    <a:pt x="30" y="526"/>
                    <a:pt x="30" y="556"/>
                  </a:cubicBezTo>
                  <a:cubicBezTo>
                    <a:pt x="29" y="571"/>
                    <a:pt x="29" y="582"/>
                    <a:pt x="29" y="590"/>
                  </a:cubicBezTo>
                  <a:cubicBezTo>
                    <a:pt x="29" y="594"/>
                    <a:pt x="29" y="597"/>
                    <a:pt x="29" y="599"/>
                  </a:cubicBezTo>
                  <a:cubicBezTo>
                    <a:pt x="29" y="601"/>
                    <a:pt x="29" y="602"/>
                    <a:pt x="29" y="60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Freeform 357">
              <a:extLst>
                <a:ext uri="{FF2B5EF4-FFF2-40B4-BE49-F238E27FC236}">
                  <a16:creationId xmlns:a16="http://schemas.microsoft.com/office/drawing/2014/main" id="{B152BE0D-F9A0-6582-B0BD-12F040AB6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5" y="2468"/>
              <a:ext cx="62" cy="986"/>
            </a:xfrm>
            <a:custGeom>
              <a:avLst/>
              <a:gdLst>
                <a:gd name="T0" fmla="*/ 38 w 62"/>
                <a:gd name="T1" fmla="*/ 986 h 986"/>
                <a:gd name="T2" fmla="*/ 10 w 62"/>
                <a:gd name="T3" fmla="*/ 986 h 986"/>
                <a:gd name="T4" fmla="*/ 0 w 62"/>
                <a:gd name="T5" fmla="*/ 0 h 986"/>
                <a:gd name="T6" fmla="*/ 62 w 62"/>
                <a:gd name="T7" fmla="*/ 0 h 986"/>
                <a:gd name="T8" fmla="*/ 38 w 62"/>
                <a:gd name="T9" fmla="*/ 986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986">
                  <a:moveTo>
                    <a:pt x="38" y="986"/>
                  </a:moveTo>
                  <a:lnTo>
                    <a:pt x="10" y="986"/>
                  </a:lnTo>
                  <a:lnTo>
                    <a:pt x="0" y="0"/>
                  </a:lnTo>
                  <a:lnTo>
                    <a:pt x="62" y="0"/>
                  </a:lnTo>
                  <a:lnTo>
                    <a:pt x="38" y="986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5" name="Freeform 358">
              <a:extLst>
                <a:ext uri="{FF2B5EF4-FFF2-40B4-BE49-F238E27FC236}">
                  <a16:creationId xmlns:a16="http://schemas.microsoft.com/office/drawing/2014/main" id="{71BEDA1B-0735-45C6-93E3-8A7C8F2D6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" y="2466"/>
              <a:ext cx="66" cy="990"/>
            </a:xfrm>
            <a:custGeom>
              <a:avLst/>
              <a:gdLst>
                <a:gd name="T0" fmla="*/ 24 w 40"/>
                <a:gd name="T1" fmla="*/ 600 h 601"/>
                <a:gd name="T2" fmla="*/ 24 w 40"/>
                <a:gd name="T3" fmla="*/ 597 h 601"/>
                <a:gd name="T4" fmla="*/ 25 w 40"/>
                <a:gd name="T5" fmla="*/ 588 h 601"/>
                <a:gd name="T6" fmla="*/ 25 w 40"/>
                <a:gd name="T7" fmla="*/ 553 h 601"/>
                <a:gd name="T8" fmla="*/ 28 w 40"/>
                <a:gd name="T9" fmla="*/ 425 h 601"/>
                <a:gd name="T10" fmla="*/ 38 w 40"/>
                <a:gd name="T11" fmla="*/ 1 h 601"/>
                <a:gd name="T12" fmla="*/ 39 w 40"/>
                <a:gd name="T13" fmla="*/ 2 h 601"/>
                <a:gd name="T14" fmla="*/ 11 w 40"/>
                <a:gd name="T15" fmla="*/ 2 h 601"/>
                <a:gd name="T16" fmla="*/ 1 w 40"/>
                <a:gd name="T17" fmla="*/ 2 h 601"/>
                <a:gd name="T18" fmla="*/ 2 w 40"/>
                <a:gd name="T19" fmla="*/ 1 h 601"/>
                <a:gd name="T20" fmla="*/ 7 w 40"/>
                <a:gd name="T21" fmla="*/ 600 h 601"/>
                <a:gd name="T22" fmla="*/ 7 w 40"/>
                <a:gd name="T23" fmla="*/ 600 h 601"/>
                <a:gd name="T24" fmla="*/ 20 w 40"/>
                <a:gd name="T25" fmla="*/ 600 h 601"/>
                <a:gd name="T26" fmla="*/ 24 w 40"/>
                <a:gd name="T27" fmla="*/ 600 h 601"/>
                <a:gd name="T28" fmla="*/ 20 w 40"/>
                <a:gd name="T29" fmla="*/ 600 h 601"/>
                <a:gd name="T30" fmla="*/ 7 w 40"/>
                <a:gd name="T31" fmla="*/ 601 h 601"/>
                <a:gd name="T32" fmla="*/ 7 w 40"/>
                <a:gd name="T33" fmla="*/ 601 h 601"/>
                <a:gd name="T34" fmla="*/ 7 w 40"/>
                <a:gd name="T35" fmla="*/ 600 h 601"/>
                <a:gd name="T36" fmla="*/ 0 w 40"/>
                <a:gd name="T37" fmla="*/ 1 h 601"/>
                <a:gd name="T38" fmla="*/ 0 w 40"/>
                <a:gd name="T39" fmla="*/ 0 h 601"/>
                <a:gd name="T40" fmla="*/ 1 w 40"/>
                <a:gd name="T41" fmla="*/ 0 h 601"/>
                <a:gd name="T42" fmla="*/ 11 w 40"/>
                <a:gd name="T43" fmla="*/ 0 h 601"/>
                <a:gd name="T44" fmla="*/ 39 w 40"/>
                <a:gd name="T45" fmla="*/ 0 h 601"/>
                <a:gd name="T46" fmla="*/ 40 w 40"/>
                <a:gd name="T47" fmla="*/ 0 h 601"/>
                <a:gd name="T48" fmla="*/ 40 w 40"/>
                <a:gd name="T49" fmla="*/ 1 h 601"/>
                <a:gd name="T50" fmla="*/ 29 w 40"/>
                <a:gd name="T51" fmla="*/ 426 h 601"/>
                <a:gd name="T52" fmla="*/ 26 w 40"/>
                <a:gd name="T53" fmla="*/ 554 h 601"/>
                <a:gd name="T54" fmla="*/ 25 w 40"/>
                <a:gd name="T55" fmla="*/ 588 h 601"/>
                <a:gd name="T56" fmla="*/ 25 w 40"/>
                <a:gd name="T57" fmla="*/ 597 h 601"/>
                <a:gd name="T58" fmla="*/ 24 w 40"/>
                <a:gd name="T59" fmla="*/ 60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" h="601">
                  <a:moveTo>
                    <a:pt x="24" y="600"/>
                  </a:moveTo>
                  <a:cubicBezTo>
                    <a:pt x="24" y="600"/>
                    <a:pt x="24" y="599"/>
                    <a:pt x="24" y="597"/>
                  </a:cubicBezTo>
                  <a:cubicBezTo>
                    <a:pt x="24" y="595"/>
                    <a:pt x="25" y="592"/>
                    <a:pt x="25" y="588"/>
                  </a:cubicBezTo>
                  <a:cubicBezTo>
                    <a:pt x="25" y="580"/>
                    <a:pt x="25" y="568"/>
                    <a:pt x="25" y="553"/>
                  </a:cubicBezTo>
                  <a:cubicBezTo>
                    <a:pt x="26" y="523"/>
                    <a:pt x="27" y="479"/>
                    <a:pt x="28" y="425"/>
                  </a:cubicBezTo>
                  <a:cubicBezTo>
                    <a:pt x="30" y="317"/>
                    <a:pt x="34" y="168"/>
                    <a:pt x="38" y="1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0" y="2"/>
                    <a:pt x="21" y="2"/>
                    <a:pt x="11" y="2"/>
                  </a:cubicBezTo>
                  <a:cubicBezTo>
                    <a:pt x="8" y="2"/>
                    <a:pt x="5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5" y="294"/>
                    <a:pt x="7" y="538"/>
                    <a:pt x="7" y="600"/>
                  </a:cubicBezTo>
                  <a:cubicBezTo>
                    <a:pt x="7" y="600"/>
                    <a:pt x="7" y="600"/>
                    <a:pt x="7" y="600"/>
                  </a:cubicBezTo>
                  <a:cubicBezTo>
                    <a:pt x="13" y="600"/>
                    <a:pt x="17" y="600"/>
                    <a:pt x="20" y="600"/>
                  </a:cubicBezTo>
                  <a:cubicBezTo>
                    <a:pt x="23" y="600"/>
                    <a:pt x="24" y="600"/>
                    <a:pt x="24" y="600"/>
                  </a:cubicBezTo>
                  <a:cubicBezTo>
                    <a:pt x="24" y="600"/>
                    <a:pt x="23" y="600"/>
                    <a:pt x="20" y="600"/>
                  </a:cubicBezTo>
                  <a:cubicBezTo>
                    <a:pt x="17" y="600"/>
                    <a:pt x="13" y="601"/>
                    <a:pt x="7" y="601"/>
                  </a:cubicBezTo>
                  <a:cubicBezTo>
                    <a:pt x="7" y="601"/>
                    <a:pt x="7" y="601"/>
                    <a:pt x="7" y="601"/>
                  </a:cubicBezTo>
                  <a:cubicBezTo>
                    <a:pt x="7" y="600"/>
                    <a:pt x="7" y="600"/>
                    <a:pt x="7" y="600"/>
                  </a:cubicBezTo>
                  <a:cubicBezTo>
                    <a:pt x="6" y="538"/>
                    <a:pt x="3" y="29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8" y="0"/>
                    <a:pt x="11" y="0"/>
                  </a:cubicBezTo>
                  <a:cubicBezTo>
                    <a:pt x="21" y="0"/>
                    <a:pt x="30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6" y="168"/>
                    <a:pt x="32" y="318"/>
                    <a:pt x="29" y="426"/>
                  </a:cubicBezTo>
                  <a:cubicBezTo>
                    <a:pt x="28" y="480"/>
                    <a:pt x="27" y="524"/>
                    <a:pt x="26" y="554"/>
                  </a:cubicBezTo>
                  <a:cubicBezTo>
                    <a:pt x="25" y="569"/>
                    <a:pt x="25" y="580"/>
                    <a:pt x="25" y="588"/>
                  </a:cubicBezTo>
                  <a:cubicBezTo>
                    <a:pt x="25" y="592"/>
                    <a:pt x="25" y="595"/>
                    <a:pt x="25" y="597"/>
                  </a:cubicBezTo>
                  <a:cubicBezTo>
                    <a:pt x="24" y="599"/>
                    <a:pt x="24" y="600"/>
                    <a:pt x="24" y="60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Rectangle 359">
              <a:extLst>
                <a:ext uri="{FF2B5EF4-FFF2-40B4-BE49-F238E27FC236}">
                  <a16:creationId xmlns:a16="http://schemas.microsoft.com/office/drawing/2014/main" id="{ECB8C90F-4BB1-EC61-C4F3-13BDCF1B8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0" y="2389"/>
              <a:ext cx="2298" cy="82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7" name="Freeform 360">
              <a:extLst>
                <a:ext uri="{FF2B5EF4-FFF2-40B4-BE49-F238E27FC236}">
                  <a16:creationId xmlns:a16="http://schemas.microsoft.com/office/drawing/2014/main" id="{683D1033-6B03-2C14-B00F-69D0C304B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" y="2387"/>
              <a:ext cx="2300" cy="86"/>
            </a:xfrm>
            <a:custGeom>
              <a:avLst/>
              <a:gdLst>
                <a:gd name="T0" fmla="*/ 0 w 1397"/>
                <a:gd name="T1" fmla="*/ 1 h 52"/>
                <a:gd name="T2" fmla="*/ 7 w 1397"/>
                <a:gd name="T3" fmla="*/ 1 h 52"/>
                <a:gd name="T4" fmla="*/ 28 w 1397"/>
                <a:gd name="T5" fmla="*/ 1 h 52"/>
                <a:gd name="T6" fmla="*/ 109 w 1397"/>
                <a:gd name="T7" fmla="*/ 1 h 52"/>
                <a:gd name="T8" fmla="*/ 407 w 1397"/>
                <a:gd name="T9" fmla="*/ 1 h 52"/>
                <a:gd name="T10" fmla="*/ 1396 w 1397"/>
                <a:gd name="T11" fmla="*/ 0 h 52"/>
                <a:gd name="T12" fmla="*/ 1397 w 1397"/>
                <a:gd name="T13" fmla="*/ 0 h 52"/>
                <a:gd name="T14" fmla="*/ 1397 w 1397"/>
                <a:gd name="T15" fmla="*/ 1 h 52"/>
                <a:gd name="T16" fmla="*/ 1397 w 1397"/>
                <a:gd name="T17" fmla="*/ 51 h 52"/>
                <a:gd name="T18" fmla="*/ 1397 w 1397"/>
                <a:gd name="T19" fmla="*/ 51 h 52"/>
                <a:gd name="T20" fmla="*/ 1397 w 1397"/>
                <a:gd name="T21" fmla="*/ 52 h 52"/>
                <a:gd name="T22" fmla="*/ 1396 w 1397"/>
                <a:gd name="T23" fmla="*/ 52 h 52"/>
                <a:gd name="T24" fmla="*/ 0 w 1397"/>
                <a:gd name="T25" fmla="*/ 51 h 52"/>
                <a:gd name="T26" fmla="*/ 0 w 1397"/>
                <a:gd name="T27" fmla="*/ 51 h 52"/>
                <a:gd name="T28" fmla="*/ 0 w 1397"/>
                <a:gd name="T29" fmla="*/ 51 h 52"/>
                <a:gd name="T30" fmla="*/ 0 w 1397"/>
                <a:gd name="T31" fmla="*/ 13 h 52"/>
                <a:gd name="T32" fmla="*/ 0 w 1397"/>
                <a:gd name="T33" fmla="*/ 1 h 52"/>
                <a:gd name="T34" fmla="*/ 0 w 1397"/>
                <a:gd name="T35" fmla="*/ 51 h 52"/>
                <a:gd name="T36" fmla="*/ 0 w 1397"/>
                <a:gd name="T37" fmla="*/ 51 h 52"/>
                <a:gd name="T38" fmla="*/ 1396 w 1397"/>
                <a:gd name="T39" fmla="*/ 50 h 52"/>
                <a:gd name="T40" fmla="*/ 1395 w 1397"/>
                <a:gd name="T41" fmla="*/ 51 h 52"/>
                <a:gd name="T42" fmla="*/ 1395 w 1397"/>
                <a:gd name="T43" fmla="*/ 51 h 52"/>
                <a:gd name="T44" fmla="*/ 1395 w 1397"/>
                <a:gd name="T45" fmla="*/ 1 h 52"/>
                <a:gd name="T46" fmla="*/ 1396 w 1397"/>
                <a:gd name="T47" fmla="*/ 2 h 52"/>
                <a:gd name="T48" fmla="*/ 408 w 1397"/>
                <a:gd name="T49" fmla="*/ 2 h 52"/>
                <a:gd name="T50" fmla="*/ 109 w 1397"/>
                <a:gd name="T51" fmla="*/ 2 h 52"/>
                <a:gd name="T52" fmla="*/ 28 w 1397"/>
                <a:gd name="T53" fmla="*/ 2 h 52"/>
                <a:gd name="T54" fmla="*/ 7 w 1397"/>
                <a:gd name="T55" fmla="*/ 1 h 52"/>
                <a:gd name="T56" fmla="*/ 0 w 1397"/>
                <a:gd name="T57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7" h="52">
                  <a:moveTo>
                    <a:pt x="0" y="1"/>
                  </a:moveTo>
                  <a:cubicBezTo>
                    <a:pt x="0" y="1"/>
                    <a:pt x="2" y="1"/>
                    <a:pt x="7" y="1"/>
                  </a:cubicBezTo>
                  <a:cubicBezTo>
                    <a:pt x="12" y="1"/>
                    <a:pt x="19" y="1"/>
                    <a:pt x="28" y="1"/>
                  </a:cubicBezTo>
                  <a:cubicBezTo>
                    <a:pt x="46" y="1"/>
                    <a:pt x="74" y="1"/>
                    <a:pt x="109" y="1"/>
                  </a:cubicBezTo>
                  <a:cubicBezTo>
                    <a:pt x="179" y="1"/>
                    <a:pt x="281" y="1"/>
                    <a:pt x="407" y="1"/>
                  </a:cubicBezTo>
                  <a:cubicBezTo>
                    <a:pt x="659" y="1"/>
                    <a:pt x="1008" y="1"/>
                    <a:pt x="1396" y="0"/>
                  </a:cubicBezTo>
                  <a:cubicBezTo>
                    <a:pt x="1397" y="0"/>
                    <a:pt x="1397" y="0"/>
                    <a:pt x="1397" y="0"/>
                  </a:cubicBezTo>
                  <a:cubicBezTo>
                    <a:pt x="1397" y="1"/>
                    <a:pt x="1397" y="1"/>
                    <a:pt x="1397" y="1"/>
                  </a:cubicBezTo>
                  <a:cubicBezTo>
                    <a:pt x="1397" y="17"/>
                    <a:pt x="1397" y="34"/>
                    <a:pt x="1397" y="51"/>
                  </a:cubicBezTo>
                  <a:cubicBezTo>
                    <a:pt x="1397" y="51"/>
                    <a:pt x="1397" y="51"/>
                    <a:pt x="1397" y="51"/>
                  </a:cubicBezTo>
                  <a:cubicBezTo>
                    <a:pt x="1397" y="52"/>
                    <a:pt x="1397" y="52"/>
                    <a:pt x="1397" y="52"/>
                  </a:cubicBezTo>
                  <a:cubicBezTo>
                    <a:pt x="1396" y="52"/>
                    <a:pt x="1396" y="52"/>
                    <a:pt x="1396" y="52"/>
                  </a:cubicBezTo>
                  <a:cubicBezTo>
                    <a:pt x="722" y="52"/>
                    <a:pt x="155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34"/>
                    <a:pt x="0" y="22"/>
                    <a:pt x="0" y="13"/>
                  </a:cubicBezTo>
                  <a:cubicBezTo>
                    <a:pt x="0" y="5"/>
                    <a:pt x="0" y="1"/>
                    <a:pt x="0" y="1"/>
                  </a:cubicBezTo>
                  <a:cubicBezTo>
                    <a:pt x="0" y="3"/>
                    <a:pt x="0" y="17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55" y="51"/>
                    <a:pt x="722" y="50"/>
                    <a:pt x="1396" y="50"/>
                  </a:cubicBezTo>
                  <a:cubicBezTo>
                    <a:pt x="1395" y="51"/>
                    <a:pt x="1395" y="51"/>
                    <a:pt x="1395" y="51"/>
                  </a:cubicBezTo>
                  <a:cubicBezTo>
                    <a:pt x="1395" y="51"/>
                    <a:pt x="1395" y="51"/>
                    <a:pt x="1395" y="51"/>
                  </a:cubicBezTo>
                  <a:cubicBezTo>
                    <a:pt x="1395" y="34"/>
                    <a:pt x="1395" y="17"/>
                    <a:pt x="1395" y="1"/>
                  </a:cubicBezTo>
                  <a:cubicBezTo>
                    <a:pt x="1396" y="2"/>
                    <a:pt x="1396" y="2"/>
                    <a:pt x="1396" y="2"/>
                  </a:cubicBezTo>
                  <a:cubicBezTo>
                    <a:pt x="1008" y="2"/>
                    <a:pt x="660" y="2"/>
                    <a:pt x="408" y="2"/>
                  </a:cubicBezTo>
                  <a:cubicBezTo>
                    <a:pt x="281" y="2"/>
                    <a:pt x="180" y="2"/>
                    <a:pt x="109" y="2"/>
                  </a:cubicBezTo>
                  <a:cubicBezTo>
                    <a:pt x="74" y="2"/>
                    <a:pt x="47" y="2"/>
                    <a:pt x="28" y="2"/>
                  </a:cubicBezTo>
                  <a:cubicBezTo>
                    <a:pt x="19" y="1"/>
                    <a:pt x="12" y="1"/>
                    <a:pt x="7" y="1"/>
                  </a:cubicBezTo>
                  <a:cubicBezTo>
                    <a:pt x="2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Freeform 361">
              <a:extLst>
                <a:ext uri="{FF2B5EF4-FFF2-40B4-BE49-F238E27FC236}">
                  <a16:creationId xmlns:a16="http://schemas.microsoft.com/office/drawing/2014/main" id="{E7D75D89-186E-3CF3-A8D2-A16A1DF0E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" y="2390"/>
              <a:ext cx="484" cy="61"/>
            </a:xfrm>
            <a:custGeom>
              <a:avLst/>
              <a:gdLst>
                <a:gd name="T0" fmla="*/ 294 w 294"/>
                <a:gd name="T1" fmla="*/ 0 h 37"/>
                <a:gd name="T2" fmla="*/ 293 w 294"/>
                <a:gd name="T3" fmla="*/ 1 h 37"/>
                <a:gd name="T4" fmla="*/ 292 w 294"/>
                <a:gd name="T5" fmla="*/ 2 h 37"/>
                <a:gd name="T6" fmla="*/ 285 w 294"/>
                <a:gd name="T7" fmla="*/ 7 h 37"/>
                <a:gd name="T8" fmla="*/ 271 w 294"/>
                <a:gd name="T9" fmla="*/ 10 h 37"/>
                <a:gd name="T10" fmla="*/ 253 w 294"/>
                <a:gd name="T11" fmla="*/ 11 h 37"/>
                <a:gd name="T12" fmla="*/ 230 w 294"/>
                <a:gd name="T13" fmla="*/ 9 h 37"/>
                <a:gd name="T14" fmla="*/ 204 w 294"/>
                <a:gd name="T15" fmla="*/ 6 h 37"/>
                <a:gd name="T16" fmla="*/ 146 w 294"/>
                <a:gd name="T17" fmla="*/ 16 h 37"/>
                <a:gd name="T18" fmla="*/ 90 w 294"/>
                <a:gd name="T19" fmla="*/ 32 h 37"/>
                <a:gd name="T20" fmla="*/ 64 w 294"/>
                <a:gd name="T21" fmla="*/ 36 h 37"/>
                <a:gd name="T22" fmla="*/ 41 w 294"/>
                <a:gd name="T23" fmla="*/ 36 h 37"/>
                <a:gd name="T24" fmla="*/ 10 w 294"/>
                <a:gd name="T25" fmla="*/ 28 h 37"/>
                <a:gd name="T26" fmla="*/ 0 w 294"/>
                <a:gd name="T27" fmla="*/ 22 h 37"/>
                <a:gd name="T28" fmla="*/ 1 w 294"/>
                <a:gd name="T29" fmla="*/ 22 h 37"/>
                <a:gd name="T30" fmla="*/ 3 w 294"/>
                <a:gd name="T31" fmla="*/ 24 h 37"/>
                <a:gd name="T32" fmla="*/ 10 w 294"/>
                <a:gd name="T33" fmla="*/ 27 h 37"/>
                <a:gd name="T34" fmla="*/ 41 w 294"/>
                <a:gd name="T35" fmla="*/ 35 h 37"/>
                <a:gd name="T36" fmla="*/ 64 w 294"/>
                <a:gd name="T37" fmla="*/ 35 h 37"/>
                <a:gd name="T38" fmla="*/ 89 w 294"/>
                <a:gd name="T39" fmla="*/ 31 h 37"/>
                <a:gd name="T40" fmla="*/ 145 w 294"/>
                <a:gd name="T41" fmla="*/ 14 h 37"/>
                <a:gd name="T42" fmla="*/ 204 w 294"/>
                <a:gd name="T43" fmla="*/ 5 h 37"/>
                <a:gd name="T44" fmla="*/ 230 w 294"/>
                <a:gd name="T45" fmla="*/ 8 h 37"/>
                <a:gd name="T46" fmla="*/ 253 w 294"/>
                <a:gd name="T47" fmla="*/ 10 h 37"/>
                <a:gd name="T48" fmla="*/ 271 w 294"/>
                <a:gd name="T49" fmla="*/ 10 h 37"/>
                <a:gd name="T50" fmla="*/ 285 w 294"/>
                <a:gd name="T51" fmla="*/ 6 h 37"/>
                <a:gd name="T52" fmla="*/ 294 w 294"/>
                <a:gd name="T5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37">
                  <a:moveTo>
                    <a:pt x="294" y="0"/>
                  </a:moveTo>
                  <a:cubicBezTo>
                    <a:pt x="293" y="1"/>
                    <a:pt x="293" y="1"/>
                    <a:pt x="293" y="1"/>
                  </a:cubicBezTo>
                  <a:cubicBezTo>
                    <a:pt x="293" y="1"/>
                    <a:pt x="293" y="2"/>
                    <a:pt x="292" y="2"/>
                  </a:cubicBezTo>
                  <a:cubicBezTo>
                    <a:pt x="290" y="3"/>
                    <a:pt x="288" y="5"/>
                    <a:pt x="285" y="7"/>
                  </a:cubicBezTo>
                  <a:cubicBezTo>
                    <a:pt x="281" y="8"/>
                    <a:pt x="277" y="10"/>
                    <a:pt x="271" y="10"/>
                  </a:cubicBezTo>
                  <a:cubicBezTo>
                    <a:pt x="266" y="11"/>
                    <a:pt x="260" y="11"/>
                    <a:pt x="253" y="11"/>
                  </a:cubicBezTo>
                  <a:cubicBezTo>
                    <a:pt x="246" y="11"/>
                    <a:pt x="238" y="10"/>
                    <a:pt x="230" y="9"/>
                  </a:cubicBezTo>
                  <a:cubicBezTo>
                    <a:pt x="222" y="8"/>
                    <a:pt x="213" y="7"/>
                    <a:pt x="204" y="6"/>
                  </a:cubicBezTo>
                  <a:cubicBezTo>
                    <a:pt x="186" y="6"/>
                    <a:pt x="166" y="10"/>
                    <a:pt x="146" y="16"/>
                  </a:cubicBezTo>
                  <a:cubicBezTo>
                    <a:pt x="126" y="21"/>
                    <a:pt x="108" y="28"/>
                    <a:pt x="90" y="32"/>
                  </a:cubicBezTo>
                  <a:cubicBezTo>
                    <a:pt x="81" y="34"/>
                    <a:pt x="72" y="35"/>
                    <a:pt x="64" y="36"/>
                  </a:cubicBezTo>
                  <a:cubicBezTo>
                    <a:pt x="56" y="37"/>
                    <a:pt x="48" y="37"/>
                    <a:pt x="41" y="36"/>
                  </a:cubicBezTo>
                  <a:cubicBezTo>
                    <a:pt x="27" y="35"/>
                    <a:pt x="17" y="31"/>
                    <a:pt x="10" y="28"/>
                  </a:cubicBezTo>
                  <a:cubicBezTo>
                    <a:pt x="3" y="25"/>
                    <a:pt x="0" y="22"/>
                    <a:pt x="0" y="22"/>
                  </a:cubicBezTo>
                  <a:cubicBezTo>
                    <a:pt x="0" y="22"/>
                    <a:pt x="0" y="22"/>
                    <a:pt x="1" y="22"/>
                  </a:cubicBezTo>
                  <a:cubicBezTo>
                    <a:pt x="1" y="23"/>
                    <a:pt x="2" y="23"/>
                    <a:pt x="3" y="24"/>
                  </a:cubicBezTo>
                  <a:cubicBezTo>
                    <a:pt x="4" y="25"/>
                    <a:pt x="7" y="26"/>
                    <a:pt x="10" y="27"/>
                  </a:cubicBezTo>
                  <a:cubicBezTo>
                    <a:pt x="17" y="31"/>
                    <a:pt x="28" y="34"/>
                    <a:pt x="41" y="35"/>
                  </a:cubicBezTo>
                  <a:cubicBezTo>
                    <a:pt x="48" y="36"/>
                    <a:pt x="56" y="36"/>
                    <a:pt x="64" y="35"/>
                  </a:cubicBezTo>
                  <a:cubicBezTo>
                    <a:pt x="72" y="34"/>
                    <a:pt x="80" y="33"/>
                    <a:pt x="89" y="31"/>
                  </a:cubicBezTo>
                  <a:cubicBezTo>
                    <a:pt x="107" y="27"/>
                    <a:pt x="125" y="20"/>
                    <a:pt x="145" y="14"/>
                  </a:cubicBezTo>
                  <a:cubicBezTo>
                    <a:pt x="165" y="8"/>
                    <a:pt x="186" y="5"/>
                    <a:pt x="204" y="5"/>
                  </a:cubicBezTo>
                  <a:cubicBezTo>
                    <a:pt x="213" y="5"/>
                    <a:pt x="222" y="7"/>
                    <a:pt x="230" y="8"/>
                  </a:cubicBezTo>
                  <a:cubicBezTo>
                    <a:pt x="238" y="9"/>
                    <a:pt x="246" y="10"/>
                    <a:pt x="253" y="10"/>
                  </a:cubicBezTo>
                  <a:cubicBezTo>
                    <a:pt x="260" y="10"/>
                    <a:pt x="266" y="10"/>
                    <a:pt x="271" y="10"/>
                  </a:cubicBezTo>
                  <a:cubicBezTo>
                    <a:pt x="277" y="9"/>
                    <a:pt x="281" y="8"/>
                    <a:pt x="285" y="6"/>
                  </a:cubicBezTo>
                  <a:cubicBezTo>
                    <a:pt x="291" y="3"/>
                    <a:pt x="294" y="0"/>
                    <a:pt x="2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9" name="Freeform 362">
              <a:extLst>
                <a:ext uri="{FF2B5EF4-FFF2-40B4-BE49-F238E27FC236}">
                  <a16:creationId xmlns:a16="http://schemas.microsoft.com/office/drawing/2014/main" id="{5F794C5D-0910-4401-C591-1B927C2A1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4" y="2392"/>
              <a:ext cx="211" cy="33"/>
            </a:xfrm>
            <a:custGeom>
              <a:avLst/>
              <a:gdLst>
                <a:gd name="T0" fmla="*/ 128 w 128"/>
                <a:gd name="T1" fmla="*/ 0 h 20"/>
                <a:gd name="T2" fmla="*/ 124 w 128"/>
                <a:gd name="T3" fmla="*/ 3 h 20"/>
                <a:gd name="T4" fmla="*/ 111 w 128"/>
                <a:gd name="T5" fmla="*/ 9 h 20"/>
                <a:gd name="T6" fmla="*/ 90 w 128"/>
                <a:gd name="T7" fmla="*/ 16 h 20"/>
                <a:gd name="T8" fmla="*/ 63 w 128"/>
                <a:gd name="T9" fmla="*/ 20 h 20"/>
                <a:gd name="T10" fmla="*/ 14 w 128"/>
                <a:gd name="T11" fmla="*/ 12 h 20"/>
                <a:gd name="T12" fmla="*/ 3 w 128"/>
                <a:gd name="T13" fmla="*/ 4 h 20"/>
                <a:gd name="T14" fmla="*/ 1 w 128"/>
                <a:gd name="T15" fmla="*/ 1 h 20"/>
                <a:gd name="T16" fmla="*/ 0 w 128"/>
                <a:gd name="T17" fmla="*/ 0 h 20"/>
                <a:gd name="T18" fmla="*/ 3 w 128"/>
                <a:gd name="T19" fmla="*/ 4 h 20"/>
                <a:gd name="T20" fmla="*/ 15 w 128"/>
                <a:gd name="T21" fmla="*/ 11 h 20"/>
                <a:gd name="T22" fmla="*/ 63 w 128"/>
                <a:gd name="T23" fmla="*/ 18 h 20"/>
                <a:gd name="T24" fmla="*/ 90 w 128"/>
                <a:gd name="T25" fmla="*/ 15 h 20"/>
                <a:gd name="T26" fmla="*/ 111 w 128"/>
                <a:gd name="T27" fmla="*/ 9 h 20"/>
                <a:gd name="T28" fmla="*/ 123 w 128"/>
                <a:gd name="T29" fmla="*/ 2 h 20"/>
                <a:gd name="T30" fmla="*/ 128 w 128"/>
                <a:gd name="T3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20">
                  <a:moveTo>
                    <a:pt x="128" y="0"/>
                  </a:moveTo>
                  <a:cubicBezTo>
                    <a:pt x="128" y="0"/>
                    <a:pt x="127" y="1"/>
                    <a:pt x="124" y="3"/>
                  </a:cubicBezTo>
                  <a:cubicBezTo>
                    <a:pt x="121" y="5"/>
                    <a:pt x="117" y="7"/>
                    <a:pt x="111" y="9"/>
                  </a:cubicBezTo>
                  <a:cubicBezTo>
                    <a:pt x="105" y="12"/>
                    <a:pt x="98" y="14"/>
                    <a:pt x="90" y="16"/>
                  </a:cubicBezTo>
                  <a:cubicBezTo>
                    <a:pt x="82" y="18"/>
                    <a:pt x="73" y="20"/>
                    <a:pt x="63" y="20"/>
                  </a:cubicBezTo>
                  <a:cubicBezTo>
                    <a:pt x="43" y="20"/>
                    <a:pt x="26" y="16"/>
                    <a:pt x="14" y="12"/>
                  </a:cubicBezTo>
                  <a:cubicBezTo>
                    <a:pt x="9" y="9"/>
                    <a:pt x="5" y="6"/>
                    <a:pt x="3" y="4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3" y="4"/>
                  </a:cubicBezTo>
                  <a:cubicBezTo>
                    <a:pt x="5" y="6"/>
                    <a:pt x="9" y="9"/>
                    <a:pt x="15" y="11"/>
                  </a:cubicBezTo>
                  <a:cubicBezTo>
                    <a:pt x="26" y="15"/>
                    <a:pt x="44" y="19"/>
                    <a:pt x="63" y="18"/>
                  </a:cubicBezTo>
                  <a:cubicBezTo>
                    <a:pt x="73" y="18"/>
                    <a:pt x="82" y="17"/>
                    <a:pt x="90" y="15"/>
                  </a:cubicBezTo>
                  <a:cubicBezTo>
                    <a:pt x="98" y="13"/>
                    <a:pt x="105" y="11"/>
                    <a:pt x="111" y="9"/>
                  </a:cubicBezTo>
                  <a:cubicBezTo>
                    <a:pt x="116" y="6"/>
                    <a:pt x="121" y="4"/>
                    <a:pt x="123" y="2"/>
                  </a:cubicBezTo>
                  <a:cubicBezTo>
                    <a:pt x="126" y="1"/>
                    <a:pt x="128" y="0"/>
                    <a:pt x="1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Freeform 363">
              <a:extLst>
                <a:ext uri="{FF2B5EF4-FFF2-40B4-BE49-F238E27FC236}">
                  <a16:creationId xmlns:a16="http://schemas.microsoft.com/office/drawing/2014/main" id="{9E006D17-EA41-F554-F94D-CD8F8AC26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407"/>
              <a:ext cx="291" cy="61"/>
            </a:xfrm>
            <a:custGeom>
              <a:avLst/>
              <a:gdLst>
                <a:gd name="T0" fmla="*/ 112 w 177"/>
                <a:gd name="T1" fmla="*/ 22 h 37"/>
                <a:gd name="T2" fmla="*/ 114 w 177"/>
                <a:gd name="T3" fmla="*/ 23 h 37"/>
                <a:gd name="T4" fmla="*/ 120 w 177"/>
                <a:gd name="T5" fmla="*/ 24 h 37"/>
                <a:gd name="T6" fmla="*/ 145 w 177"/>
                <a:gd name="T7" fmla="*/ 21 h 37"/>
                <a:gd name="T8" fmla="*/ 145 w 177"/>
                <a:gd name="T9" fmla="*/ 22 h 37"/>
                <a:gd name="T10" fmla="*/ 114 w 177"/>
                <a:gd name="T11" fmla="*/ 12 h 37"/>
                <a:gd name="T12" fmla="*/ 75 w 177"/>
                <a:gd name="T13" fmla="*/ 21 h 37"/>
                <a:gd name="T14" fmla="*/ 72 w 177"/>
                <a:gd name="T15" fmla="*/ 24 h 37"/>
                <a:gd name="T16" fmla="*/ 75 w 177"/>
                <a:gd name="T17" fmla="*/ 27 h 37"/>
                <a:gd name="T18" fmla="*/ 80 w 177"/>
                <a:gd name="T19" fmla="*/ 29 h 37"/>
                <a:gd name="T20" fmla="*/ 86 w 177"/>
                <a:gd name="T21" fmla="*/ 30 h 37"/>
                <a:gd name="T22" fmla="*/ 111 w 177"/>
                <a:gd name="T23" fmla="*/ 34 h 37"/>
                <a:gd name="T24" fmla="*/ 137 w 177"/>
                <a:gd name="T25" fmla="*/ 35 h 37"/>
                <a:gd name="T26" fmla="*/ 151 w 177"/>
                <a:gd name="T27" fmla="*/ 34 h 37"/>
                <a:gd name="T28" fmla="*/ 157 w 177"/>
                <a:gd name="T29" fmla="*/ 33 h 37"/>
                <a:gd name="T30" fmla="*/ 164 w 177"/>
                <a:gd name="T31" fmla="*/ 31 h 37"/>
                <a:gd name="T32" fmla="*/ 172 w 177"/>
                <a:gd name="T33" fmla="*/ 26 h 37"/>
                <a:gd name="T34" fmla="*/ 174 w 177"/>
                <a:gd name="T35" fmla="*/ 18 h 37"/>
                <a:gd name="T36" fmla="*/ 167 w 177"/>
                <a:gd name="T37" fmla="*/ 12 h 37"/>
                <a:gd name="T38" fmla="*/ 158 w 177"/>
                <a:gd name="T39" fmla="*/ 9 h 37"/>
                <a:gd name="T40" fmla="*/ 119 w 177"/>
                <a:gd name="T41" fmla="*/ 2 h 37"/>
                <a:gd name="T42" fmla="*/ 53 w 177"/>
                <a:gd name="T43" fmla="*/ 11 h 37"/>
                <a:gd name="T44" fmla="*/ 13 w 177"/>
                <a:gd name="T45" fmla="*/ 28 h 37"/>
                <a:gd name="T46" fmla="*/ 4 w 177"/>
                <a:gd name="T47" fmla="*/ 35 h 37"/>
                <a:gd name="T48" fmla="*/ 1 w 177"/>
                <a:gd name="T49" fmla="*/ 36 h 37"/>
                <a:gd name="T50" fmla="*/ 0 w 177"/>
                <a:gd name="T51" fmla="*/ 37 h 37"/>
                <a:gd name="T52" fmla="*/ 1 w 177"/>
                <a:gd name="T53" fmla="*/ 36 h 37"/>
                <a:gd name="T54" fmla="*/ 3 w 177"/>
                <a:gd name="T55" fmla="*/ 34 h 37"/>
                <a:gd name="T56" fmla="*/ 13 w 177"/>
                <a:gd name="T57" fmla="*/ 28 h 37"/>
                <a:gd name="T58" fmla="*/ 53 w 177"/>
                <a:gd name="T59" fmla="*/ 10 h 37"/>
                <a:gd name="T60" fmla="*/ 119 w 177"/>
                <a:gd name="T61" fmla="*/ 1 h 37"/>
                <a:gd name="T62" fmla="*/ 159 w 177"/>
                <a:gd name="T63" fmla="*/ 8 h 37"/>
                <a:gd name="T64" fmla="*/ 168 w 177"/>
                <a:gd name="T65" fmla="*/ 11 h 37"/>
                <a:gd name="T66" fmla="*/ 176 w 177"/>
                <a:gd name="T67" fmla="*/ 18 h 37"/>
                <a:gd name="T68" fmla="*/ 174 w 177"/>
                <a:gd name="T69" fmla="*/ 27 h 37"/>
                <a:gd name="T70" fmla="*/ 165 w 177"/>
                <a:gd name="T71" fmla="*/ 32 h 37"/>
                <a:gd name="T72" fmla="*/ 158 w 177"/>
                <a:gd name="T73" fmla="*/ 34 h 37"/>
                <a:gd name="T74" fmla="*/ 151 w 177"/>
                <a:gd name="T75" fmla="*/ 35 h 37"/>
                <a:gd name="T76" fmla="*/ 137 w 177"/>
                <a:gd name="T77" fmla="*/ 36 h 37"/>
                <a:gd name="T78" fmla="*/ 110 w 177"/>
                <a:gd name="T79" fmla="*/ 35 h 37"/>
                <a:gd name="T80" fmla="*/ 86 w 177"/>
                <a:gd name="T81" fmla="*/ 31 h 37"/>
                <a:gd name="T82" fmla="*/ 80 w 177"/>
                <a:gd name="T83" fmla="*/ 30 h 37"/>
                <a:gd name="T84" fmla="*/ 74 w 177"/>
                <a:gd name="T85" fmla="*/ 28 h 37"/>
                <a:gd name="T86" fmla="*/ 71 w 177"/>
                <a:gd name="T87" fmla="*/ 26 h 37"/>
                <a:gd name="T88" fmla="*/ 70 w 177"/>
                <a:gd name="T89" fmla="*/ 24 h 37"/>
                <a:gd name="T90" fmla="*/ 74 w 177"/>
                <a:gd name="T91" fmla="*/ 20 h 37"/>
                <a:gd name="T92" fmla="*/ 115 w 177"/>
                <a:gd name="T93" fmla="*/ 11 h 37"/>
                <a:gd name="T94" fmla="*/ 145 w 177"/>
                <a:gd name="T95" fmla="*/ 21 h 37"/>
                <a:gd name="T96" fmla="*/ 146 w 177"/>
                <a:gd name="T97" fmla="*/ 22 h 37"/>
                <a:gd name="T98" fmla="*/ 145 w 177"/>
                <a:gd name="T99" fmla="*/ 22 h 37"/>
                <a:gd name="T100" fmla="*/ 120 w 177"/>
                <a:gd name="T101" fmla="*/ 25 h 37"/>
                <a:gd name="T102" fmla="*/ 112 w 177"/>
                <a:gd name="T103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7" h="37">
                  <a:moveTo>
                    <a:pt x="112" y="22"/>
                  </a:moveTo>
                  <a:cubicBezTo>
                    <a:pt x="112" y="22"/>
                    <a:pt x="112" y="22"/>
                    <a:pt x="114" y="23"/>
                  </a:cubicBezTo>
                  <a:cubicBezTo>
                    <a:pt x="115" y="23"/>
                    <a:pt x="117" y="24"/>
                    <a:pt x="120" y="24"/>
                  </a:cubicBezTo>
                  <a:cubicBezTo>
                    <a:pt x="126" y="25"/>
                    <a:pt x="135" y="25"/>
                    <a:pt x="145" y="21"/>
                  </a:cubicBezTo>
                  <a:cubicBezTo>
                    <a:pt x="145" y="22"/>
                    <a:pt x="145" y="22"/>
                    <a:pt x="145" y="22"/>
                  </a:cubicBezTo>
                  <a:cubicBezTo>
                    <a:pt x="137" y="17"/>
                    <a:pt x="127" y="13"/>
                    <a:pt x="114" y="12"/>
                  </a:cubicBezTo>
                  <a:cubicBezTo>
                    <a:pt x="102" y="11"/>
                    <a:pt x="87" y="13"/>
                    <a:pt x="75" y="21"/>
                  </a:cubicBezTo>
                  <a:cubicBezTo>
                    <a:pt x="73" y="21"/>
                    <a:pt x="72" y="23"/>
                    <a:pt x="72" y="24"/>
                  </a:cubicBezTo>
                  <a:cubicBezTo>
                    <a:pt x="72" y="25"/>
                    <a:pt x="73" y="26"/>
                    <a:pt x="75" y="27"/>
                  </a:cubicBezTo>
                  <a:cubicBezTo>
                    <a:pt x="76" y="28"/>
                    <a:pt x="78" y="28"/>
                    <a:pt x="80" y="29"/>
                  </a:cubicBezTo>
                  <a:cubicBezTo>
                    <a:pt x="82" y="29"/>
                    <a:pt x="84" y="29"/>
                    <a:pt x="86" y="30"/>
                  </a:cubicBezTo>
                  <a:cubicBezTo>
                    <a:pt x="94" y="31"/>
                    <a:pt x="102" y="33"/>
                    <a:pt x="111" y="34"/>
                  </a:cubicBezTo>
                  <a:cubicBezTo>
                    <a:pt x="119" y="35"/>
                    <a:pt x="128" y="35"/>
                    <a:pt x="137" y="35"/>
                  </a:cubicBezTo>
                  <a:cubicBezTo>
                    <a:pt x="142" y="35"/>
                    <a:pt x="146" y="35"/>
                    <a:pt x="151" y="34"/>
                  </a:cubicBezTo>
                  <a:cubicBezTo>
                    <a:pt x="153" y="34"/>
                    <a:pt x="155" y="33"/>
                    <a:pt x="157" y="33"/>
                  </a:cubicBezTo>
                  <a:cubicBezTo>
                    <a:pt x="160" y="32"/>
                    <a:pt x="162" y="32"/>
                    <a:pt x="164" y="31"/>
                  </a:cubicBezTo>
                  <a:cubicBezTo>
                    <a:pt x="167" y="30"/>
                    <a:pt x="170" y="28"/>
                    <a:pt x="172" y="26"/>
                  </a:cubicBezTo>
                  <a:cubicBezTo>
                    <a:pt x="174" y="24"/>
                    <a:pt x="175" y="21"/>
                    <a:pt x="174" y="18"/>
                  </a:cubicBezTo>
                  <a:cubicBezTo>
                    <a:pt x="173" y="16"/>
                    <a:pt x="170" y="14"/>
                    <a:pt x="167" y="12"/>
                  </a:cubicBezTo>
                  <a:cubicBezTo>
                    <a:pt x="164" y="11"/>
                    <a:pt x="161" y="10"/>
                    <a:pt x="158" y="9"/>
                  </a:cubicBezTo>
                  <a:cubicBezTo>
                    <a:pt x="145" y="5"/>
                    <a:pt x="132" y="3"/>
                    <a:pt x="119" y="2"/>
                  </a:cubicBezTo>
                  <a:cubicBezTo>
                    <a:pt x="94" y="1"/>
                    <a:pt x="71" y="5"/>
                    <a:pt x="53" y="11"/>
                  </a:cubicBezTo>
                  <a:cubicBezTo>
                    <a:pt x="35" y="16"/>
                    <a:pt x="22" y="23"/>
                    <a:pt x="13" y="28"/>
                  </a:cubicBezTo>
                  <a:cubicBezTo>
                    <a:pt x="9" y="31"/>
                    <a:pt x="6" y="33"/>
                    <a:pt x="4" y="35"/>
                  </a:cubicBezTo>
                  <a:cubicBezTo>
                    <a:pt x="3" y="35"/>
                    <a:pt x="2" y="36"/>
                    <a:pt x="1" y="36"/>
                  </a:cubicBezTo>
                  <a:cubicBezTo>
                    <a:pt x="1" y="37"/>
                    <a:pt x="0" y="37"/>
                    <a:pt x="0" y="37"/>
                  </a:cubicBezTo>
                  <a:cubicBezTo>
                    <a:pt x="0" y="37"/>
                    <a:pt x="0" y="37"/>
                    <a:pt x="1" y="36"/>
                  </a:cubicBezTo>
                  <a:cubicBezTo>
                    <a:pt x="2" y="36"/>
                    <a:pt x="2" y="35"/>
                    <a:pt x="3" y="34"/>
                  </a:cubicBezTo>
                  <a:cubicBezTo>
                    <a:pt x="5" y="33"/>
                    <a:pt x="9" y="31"/>
                    <a:pt x="13" y="28"/>
                  </a:cubicBezTo>
                  <a:cubicBezTo>
                    <a:pt x="21" y="22"/>
                    <a:pt x="35" y="15"/>
                    <a:pt x="53" y="10"/>
                  </a:cubicBezTo>
                  <a:cubicBezTo>
                    <a:pt x="71" y="4"/>
                    <a:pt x="94" y="0"/>
                    <a:pt x="119" y="1"/>
                  </a:cubicBezTo>
                  <a:cubicBezTo>
                    <a:pt x="132" y="2"/>
                    <a:pt x="146" y="3"/>
                    <a:pt x="159" y="8"/>
                  </a:cubicBezTo>
                  <a:cubicBezTo>
                    <a:pt x="162" y="9"/>
                    <a:pt x="165" y="10"/>
                    <a:pt x="168" y="11"/>
                  </a:cubicBezTo>
                  <a:cubicBezTo>
                    <a:pt x="171" y="13"/>
                    <a:pt x="174" y="15"/>
                    <a:pt x="176" y="18"/>
                  </a:cubicBezTo>
                  <a:cubicBezTo>
                    <a:pt x="177" y="21"/>
                    <a:pt x="176" y="25"/>
                    <a:pt x="174" y="27"/>
                  </a:cubicBezTo>
                  <a:cubicBezTo>
                    <a:pt x="171" y="29"/>
                    <a:pt x="168" y="31"/>
                    <a:pt x="165" y="32"/>
                  </a:cubicBezTo>
                  <a:cubicBezTo>
                    <a:pt x="162" y="33"/>
                    <a:pt x="160" y="34"/>
                    <a:pt x="158" y="34"/>
                  </a:cubicBezTo>
                  <a:cubicBezTo>
                    <a:pt x="155" y="35"/>
                    <a:pt x="153" y="35"/>
                    <a:pt x="151" y="35"/>
                  </a:cubicBezTo>
                  <a:cubicBezTo>
                    <a:pt x="146" y="36"/>
                    <a:pt x="142" y="36"/>
                    <a:pt x="137" y="36"/>
                  </a:cubicBezTo>
                  <a:cubicBezTo>
                    <a:pt x="128" y="37"/>
                    <a:pt x="119" y="36"/>
                    <a:pt x="110" y="35"/>
                  </a:cubicBezTo>
                  <a:cubicBezTo>
                    <a:pt x="102" y="34"/>
                    <a:pt x="94" y="32"/>
                    <a:pt x="86" y="31"/>
                  </a:cubicBezTo>
                  <a:cubicBezTo>
                    <a:pt x="84" y="31"/>
                    <a:pt x="82" y="30"/>
                    <a:pt x="80" y="30"/>
                  </a:cubicBezTo>
                  <a:cubicBezTo>
                    <a:pt x="78" y="29"/>
                    <a:pt x="76" y="29"/>
                    <a:pt x="74" y="28"/>
                  </a:cubicBezTo>
                  <a:cubicBezTo>
                    <a:pt x="73" y="28"/>
                    <a:pt x="72" y="27"/>
                    <a:pt x="71" y="26"/>
                  </a:cubicBezTo>
                  <a:cubicBezTo>
                    <a:pt x="71" y="26"/>
                    <a:pt x="70" y="25"/>
                    <a:pt x="70" y="24"/>
                  </a:cubicBezTo>
                  <a:cubicBezTo>
                    <a:pt x="71" y="22"/>
                    <a:pt x="73" y="21"/>
                    <a:pt x="74" y="20"/>
                  </a:cubicBezTo>
                  <a:cubicBezTo>
                    <a:pt x="87" y="12"/>
                    <a:pt x="102" y="10"/>
                    <a:pt x="115" y="11"/>
                  </a:cubicBezTo>
                  <a:cubicBezTo>
                    <a:pt x="127" y="12"/>
                    <a:pt x="138" y="16"/>
                    <a:pt x="145" y="21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5" y="22"/>
                    <a:pt x="145" y="22"/>
                    <a:pt x="145" y="22"/>
                  </a:cubicBezTo>
                  <a:cubicBezTo>
                    <a:pt x="135" y="26"/>
                    <a:pt x="126" y="26"/>
                    <a:pt x="120" y="25"/>
                  </a:cubicBezTo>
                  <a:cubicBezTo>
                    <a:pt x="114" y="24"/>
                    <a:pt x="112" y="22"/>
                    <a:pt x="1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1" name="Freeform 364">
              <a:extLst>
                <a:ext uri="{FF2B5EF4-FFF2-40B4-BE49-F238E27FC236}">
                  <a16:creationId xmlns:a16="http://schemas.microsoft.com/office/drawing/2014/main" id="{4D38597D-1CFB-A554-07DB-0AB4F380E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2392"/>
              <a:ext cx="84" cy="79"/>
            </a:xfrm>
            <a:custGeom>
              <a:avLst/>
              <a:gdLst>
                <a:gd name="T0" fmla="*/ 48 w 51"/>
                <a:gd name="T1" fmla="*/ 0 h 48"/>
                <a:gd name="T2" fmla="*/ 50 w 51"/>
                <a:gd name="T3" fmla="*/ 3 h 48"/>
                <a:gd name="T4" fmla="*/ 51 w 51"/>
                <a:gd name="T5" fmla="*/ 10 h 48"/>
                <a:gd name="T6" fmla="*/ 37 w 51"/>
                <a:gd name="T7" fmla="*/ 32 h 48"/>
                <a:gd name="T8" fmla="*/ 24 w 51"/>
                <a:gd name="T9" fmla="*/ 41 h 48"/>
                <a:gd name="T10" fmla="*/ 12 w 51"/>
                <a:gd name="T11" fmla="*/ 46 h 48"/>
                <a:gd name="T12" fmla="*/ 3 w 51"/>
                <a:gd name="T13" fmla="*/ 47 h 48"/>
                <a:gd name="T14" fmla="*/ 0 w 51"/>
                <a:gd name="T15" fmla="*/ 48 h 48"/>
                <a:gd name="T16" fmla="*/ 12 w 51"/>
                <a:gd name="T17" fmla="*/ 45 h 48"/>
                <a:gd name="T18" fmla="*/ 24 w 51"/>
                <a:gd name="T19" fmla="*/ 40 h 48"/>
                <a:gd name="T20" fmla="*/ 36 w 51"/>
                <a:gd name="T21" fmla="*/ 31 h 48"/>
                <a:gd name="T22" fmla="*/ 49 w 51"/>
                <a:gd name="T23" fmla="*/ 10 h 48"/>
                <a:gd name="T24" fmla="*/ 48 w 51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48">
                  <a:moveTo>
                    <a:pt x="48" y="0"/>
                  </a:moveTo>
                  <a:cubicBezTo>
                    <a:pt x="48" y="0"/>
                    <a:pt x="49" y="1"/>
                    <a:pt x="50" y="3"/>
                  </a:cubicBezTo>
                  <a:cubicBezTo>
                    <a:pt x="50" y="5"/>
                    <a:pt x="51" y="7"/>
                    <a:pt x="51" y="10"/>
                  </a:cubicBezTo>
                  <a:cubicBezTo>
                    <a:pt x="50" y="17"/>
                    <a:pt x="45" y="25"/>
                    <a:pt x="37" y="32"/>
                  </a:cubicBezTo>
                  <a:cubicBezTo>
                    <a:pt x="33" y="36"/>
                    <a:pt x="29" y="38"/>
                    <a:pt x="24" y="41"/>
                  </a:cubicBezTo>
                  <a:cubicBezTo>
                    <a:pt x="20" y="43"/>
                    <a:pt x="16" y="45"/>
                    <a:pt x="12" y="46"/>
                  </a:cubicBezTo>
                  <a:cubicBezTo>
                    <a:pt x="8" y="47"/>
                    <a:pt x="5" y="47"/>
                    <a:pt x="3" y="47"/>
                  </a:cubicBezTo>
                  <a:cubicBezTo>
                    <a:pt x="1" y="48"/>
                    <a:pt x="0" y="48"/>
                    <a:pt x="0" y="48"/>
                  </a:cubicBezTo>
                  <a:cubicBezTo>
                    <a:pt x="0" y="47"/>
                    <a:pt x="5" y="47"/>
                    <a:pt x="12" y="45"/>
                  </a:cubicBezTo>
                  <a:cubicBezTo>
                    <a:pt x="15" y="44"/>
                    <a:pt x="19" y="42"/>
                    <a:pt x="24" y="40"/>
                  </a:cubicBezTo>
                  <a:cubicBezTo>
                    <a:pt x="28" y="37"/>
                    <a:pt x="32" y="34"/>
                    <a:pt x="36" y="31"/>
                  </a:cubicBezTo>
                  <a:cubicBezTo>
                    <a:pt x="44" y="24"/>
                    <a:pt x="49" y="16"/>
                    <a:pt x="49" y="10"/>
                  </a:cubicBezTo>
                  <a:cubicBezTo>
                    <a:pt x="50" y="4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Freeform 365">
              <a:extLst>
                <a:ext uri="{FF2B5EF4-FFF2-40B4-BE49-F238E27FC236}">
                  <a16:creationId xmlns:a16="http://schemas.microsoft.com/office/drawing/2014/main" id="{7BF9D005-4FC0-4171-BA40-2EFBAD8A7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9" y="2410"/>
              <a:ext cx="334" cy="61"/>
            </a:xfrm>
            <a:custGeom>
              <a:avLst/>
              <a:gdLst>
                <a:gd name="T0" fmla="*/ 203 w 203"/>
                <a:gd name="T1" fmla="*/ 34 h 37"/>
                <a:gd name="T2" fmla="*/ 197 w 203"/>
                <a:gd name="T3" fmla="*/ 29 h 37"/>
                <a:gd name="T4" fmla="*/ 175 w 203"/>
                <a:gd name="T5" fmla="*/ 21 h 37"/>
                <a:gd name="T6" fmla="*/ 158 w 203"/>
                <a:gd name="T7" fmla="*/ 22 h 37"/>
                <a:gd name="T8" fmla="*/ 139 w 203"/>
                <a:gd name="T9" fmla="*/ 23 h 37"/>
                <a:gd name="T10" fmla="*/ 119 w 203"/>
                <a:gd name="T11" fmla="*/ 15 h 37"/>
                <a:gd name="T12" fmla="*/ 100 w 203"/>
                <a:gd name="T13" fmla="*/ 6 h 37"/>
                <a:gd name="T14" fmla="*/ 57 w 203"/>
                <a:gd name="T15" fmla="*/ 5 h 37"/>
                <a:gd name="T16" fmla="*/ 25 w 203"/>
                <a:gd name="T17" fmla="*/ 19 h 37"/>
                <a:gd name="T18" fmla="*/ 6 w 203"/>
                <a:gd name="T19" fmla="*/ 32 h 37"/>
                <a:gd name="T20" fmla="*/ 1 w 203"/>
                <a:gd name="T21" fmla="*/ 35 h 37"/>
                <a:gd name="T22" fmla="*/ 0 w 203"/>
                <a:gd name="T23" fmla="*/ 37 h 37"/>
                <a:gd name="T24" fmla="*/ 1 w 203"/>
                <a:gd name="T25" fmla="*/ 35 h 37"/>
                <a:gd name="T26" fmla="*/ 6 w 203"/>
                <a:gd name="T27" fmla="*/ 31 h 37"/>
                <a:gd name="T28" fmla="*/ 24 w 203"/>
                <a:gd name="T29" fmla="*/ 18 h 37"/>
                <a:gd name="T30" fmla="*/ 56 w 203"/>
                <a:gd name="T31" fmla="*/ 4 h 37"/>
                <a:gd name="T32" fmla="*/ 100 w 203"/>
                <a:gd name="T33" fmla="*/ 5 h 37"/>
                <a:gd name="T34" fmla="*/ 120 w 203"/>
                <a:gd name="T35" fmla="*/ 14 h 37"/>
                <a:gd name="T36" fmla="*/ 139 w 203"/>
                <a:gd name="T37" fmla="*/ 22 h 37"/>
                <a:gd name="T38" fmla="*/ 158 w 203"/>
                <a:gd name="T39" fmla="*/ 21 h 37"/>
                <a:gd name="T40" fmla="*/ 175 w 203"/>
                <a:gd name="T41" fmla="*/ 20 h 37"/>
                <a:gd name="T42" fmla="*/ 197 w 203"/>
                <a:gd name="T43" fmla="*/ 29 h 37"/>
                <a:gd name="T44" fmla="*/ 203 w 203"/>
                <a:gd name="T45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3" h="37">
                  <a:moveTo>
                    <a:pt x="203" y="34"/>
                  </a:moveTo>
                  <a:cubicBezTo>
                    <a:pt x="203" y="34"/>
                    <a:pt x="201" y="32"/>
                    <a:pt x="197" y="29"/>
                  </a:cubicBezTo>
                  <a:cubicBezTo>
                    <a:pt x="192" y="26"/>
                    <a:pt x="185" y="23"/>
                    <a:pt x="175" y="21"/>
                  </a:cubicBezTo>
                  <a:cubicBezTo>
                    <a:pt x="170" y="21"/>
                    <a:pt x="164" y="21"/>
                    <a:pt x="158" y="22"/>
                  </a:cubicBezTo>
                  <a:cubicBezTo>
                    <a:pt x="152" y="22"/>
                    <a:pt x="146" y="24"/>
                    <a:pt x="139" y="23"/>
                  </a:cubicBezTo>
                  <a:cubicBezTo>
                    <a:pt x="132" y="23"/>
                    <a:pt x="125" y="19"/>
                    <a:pt x="119" y="15"/>
                  </a:cubicBezTo>
                  <a:cubicBezTo>
                    <a:pt x="114" y="12"/>
                    <a:pt x="107" y="8"/>
                    <a:pt x="100" y="6"/>
                  </a:cubicBezTo>
                  <a:cubicBezTo>
                    <a:pt x="85" y="2"/>
                    <a:pt x="70" y="2"/>
                    <a:pt x="57" y="5"/>
                  </a:cubicBezTo>
                  <a:cubicBezTo>
                    <a:pt x="44" y="9"/>
                    <a:pt x="33" y="14"/>
                    <a:pt x="25" y="19"/>
                  </a:cubicBezTo>
                  <a:cubicBezTo>
                    <a:pt x="16" y="24"/>
                    <a:pt x="10" y="28"/>
                    <a:pt x="6" y="32"/>
                  </a:cubicBezTo>
                  <a:cubicBezTo>
                    <a:pt x="4" y="33"/>
                    <a:pt x="2" y="34"/>
                    <a:pt x="1" y="35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0" y="36"/>
                    <a:pt x="1" y="35"/>
                  </a:cubicBezTo>
                  <a:cubicBezTo>
                    <a:pt x="2" y="34"/>
                    <a:pt x="4" y="33"/>
                    <a:pt x="6" y="31"/>
                  </a:cubicBezTo>
                  <a:cubicBezTo>
                    <a:pt x="10" y="28"/>
                    <a:pt x="16" y="23"/>
                    <a:pt x="24" y="18"/>
                  </a:cubicBezTo>
                  <a:cubicBezTo>
                    <a:pt x="32" y="13"/>
                    <a:pt x="43" y="7"/>
                    <a:pt x="56" y="4"/>
                  </a:cubicBezTo>
                  <a:cubicBezTo>
                    <a:pt x="69" y="1"/>
                    <a:pt x="85" y="0"/>
                    <a:pt x="100" y="5"/>
                  </a:cubicBezTo>
                  <a:cubicBezTo>
                    <a:pt x="108" y="7"/>
                    <a:pt x="115" y="11"/>
                    <a:pt x="120" y="14"/>
                  </a:cubicBezTo>
                  <a:cubicBezTo>
                    <a:pt x="126" y="18"/>
                    <a:pt x="132" y="21"/>
                    <a:pt x="139" y="22"/>
                  </a:cubicBezTo>
                  <a:cubicBezTo>
                    <a:pt x="146" y="22"/>
                    <a:pt x="152" y="21"/>
                    <a:pt x="158" y="21"/>
                  </a:cubicBezTo>
                  <a:cubicBezTo>
                    <a:pt x="164" y="20"/>
                    <a:pt x="170" y="20"/>
                    <a:pt x="175" y="20"/>
                  </a:cubicBezTo>
                  <a:cubicBezTo>
                    <a:pt x="186" y="22"/>
                    <a:pt x="193" y="26"/>
                    <a:pt x="197" y="29"/>
                  </a:cubicBezTo>
                  <a:cubicBezTo>
                    <a:pt x="202" y="32"/>
                    <a:pt x="203" y="34"/>
                    <a:pt x="203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3" name="Freeform 366">
              <a:extLst>
                <a:ext uri="{FF2B5EF4-FFF2-40B4-BE49-F238E27FC236}">
                  <a16:creationId xmlns:a16="http://schemas.microsoft.com/office/drawing/2014/main" id="{22E5751C-DCF1-5517-716E-28A89F3EF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8" y="2390"/>
              <a:ext cx="364" cy="75"/>
            </a:xfrm>
            <a:custGeom>
              <a:avLst/>
              <a:gdLst>
                <a:gd name="T0" fmla="*/ 221 w 221"/>
                <a:gd name="T1" fmla="*/ 0 h 45"/>
                <a:gd name="T2" fmla="*/ 220 w 221"/>
                <a:gd name="T3" fmla="*/ 2 h 45"/>
                <a:gd name="T4" fmla="*/ 215 w 221"/>
                <a:gd name="T5" fmla="*/ 6 h 45"/>
                <a:gd name="T6" fmla="*/ 194 w 221"/>
                <a:gd name="T7" fmla="*/ 21 h 45"/>
                <a:gd name="T8" fmla="*/ 159 w 221"/>
                <a:gd name="T9" fmla="*/ 37 h 45"/>
                <a:gd name="T10" fmla="*/ 136 w 221"/>
                <a:gd name="T11" fmla="*/ 43 h 45"/>
                <a:gd name="T12" fmla="*/ 111 w 221"/>
                <a:gd name="T13" fmla="*/ 45 h 45"/>
                <a:gd name="T14" fmla="*/ 62 w 221"/>
                <a:gd name="T15" fmla="*/ 37 h 45"/>
                <a:gd name="T16" fmla="*/ 27 w 221"/>
                <a:gd name="T17" fmla="*/ 21 h 45"/>
                <a:gd name="T18" fmla="*/ 7 w 221"/>
                <a:gd name="T19" fmla="*/ 6 h 45"/>
                <a:gd name="T20" fmla="*/ 2 w 221"/>
                <a:gd name="T21" fmla="*/ 2 h 45"/>
                <a:gd name="T22" fmla="*/ 1 w 221"/>
                <a:gd name="T23" fmla="*/ 0 h 45"/>
                <a:gd name="T24" fmla="*/ 2 w 221"/>
                <a:gd name="T25" fmla="*/ 1 h 45"/>
                <a:gd name="T26" fmla="*/ 7 w 221"/>
                <a:gd name="T27" fmla="*/ 6 h 45"/>
                <a:gd name="T28" fmla="*/ 28 w 221"/>
                <a:gd name="T29" fmla="*/ 20 h 45"/>
                <a:gd name="T30" fmla="*/ 63 w 221"/>
                <a:gd name="T31" fmla="*/ 36 h 45"/>
                <a:gd name="T32" fmla="*/ 111 w 221"/>
                <a:gd name="T33" fmla="*/ 44 h 45"/>
                <a:gd name="T34" fmla="*/ 136 w 221"/>
                <a:gd name="T35" fmla="*/ 41 h 45"/>
                <a:gd name="T36" fmla="*/ 158 w 221"/>
                <a:gd name="T37" fmla="*/ 36 h 45"/>
                <a:gd name="T38" fmla="*/ 194 w 221"/>
                <a:gd name="T39" fmla="*/ 20 h 45"/>
                <a:gd name="T40" fmla="*/ 214 w 221"/>
                <a:gd name="T41" fmla="*/ 6 h 45"/>
                <a:gd name="T42" fmla="*/ 219 w 221"/>
                <a:gd name="T43" fmla="*/ 1 h 45"/>
                <a:gd name="T44" fmla="*/ 221 w 221"/>
                <a:gd name="T4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1" h="45">
                  <a:moveTo>
                    <a:pt x="221" y="0"/>
                  </a:moveTo>
                  <a:cubicBezTo>
                    <a:pt x="221" y="0"/>
                    <a:pt x="221" y="0"/>
                    <a:pt x="220" y="2"/>
                  </a:cubicBezTo>
                  <a:cubicBezTo>
                    <a:pt x="218" y="3"/>
                    <a:pt x="217" y="4"/>
                    <a:pt x="215" y="6"/>
                  </a:cubicBezTo>
                  <a:cubicBezTo>
                    <a:pt x="211" y="10"/>
                    <a:pt x="204" y="15"/>
                    <a:pt x="194" y="21"/>
                  </a:cubicBezTo>
                  <a:cubicBezTo>
                    <a:pt x="185" y="26"/>
                    <a:pt x="173" y="32"/>
                    <a:pt x="159" y="37"/>
                  </a:cubicBezTo>
                  <a:cubicBezTo>
                    <a:pt x="152" y="39"/>
                    <a:pt x="144" y="41"/>
                    <a:pt x="136" y="43"/>
                  </a:cubicBezTo>
                  <a:cubicBezTo>
                    <a:pt x="128" y="44"/>
                    <a:pt x="120" y="45"/>
                    <a:pt x="111" y="45"/>
                  </a:cubicBezTo>
                  <a:cubicBezTo>
                    <a:pt x="93" y="45"/>
                    <a:pt x="76" y="42"/>
                    <a:pt x="62" y="37"/>
                  </a:cubicBezTo>
                  <a:cubicBezTo>
                    <a:pt x="48" y="32"/>
                    <a:pt x="36" y="27"/>
                    <a:pt x="27" y="21"/>
                  </a:cubicBezTo>
                  <a:cubicBezTo>
                    <a:pt x="18" y="15"/>
                    <a:pt x="11" y="10"/>
                    <a:pt x="7" y="6"/>
                  </a:cubicBezTo>
                  <a:cubicBezTo>
                    <a:pt x="5" y="4"/>
                    <a:pt x="3" y="3"/>
                    <a:pt x="2" y="2"/>
                  </a:cubicBezTo>
                  <a:cubicBezTo>
                    <a:pt x="1" y="0"/>
                    <a:pt x="0" y="0"/>
                    <a:pt x="1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4" y="2"/>
                    <a:pt x="5" y="4"/>
                    <a:pt x="7" y="6"/>
                  </a:cubicBezTo>
                  <a:cubicBezTo>
                    <a:pt x="12" y="10"/>
                    <a:pt x="19" y="15"/>
                    <a:pt x="28" y="20"/>
                  </a:cubicBezTo>
                  <a:cubicBezTo>
                    <a:pt x="37" y="26"/>
                    <a:pt x="49" y="31"/>
                    <a:pt x="63" y="36"/>
                  </a:cubicBezTo>
                  <a:cubicBezTo>
                    <a:pt x="77" y="41"/>
                    <a:pt x="93" y="44"/>
                    <a:pt x="111" y="44"/>
                  </a:cubicBezTo>
                  <a:cubicBezTo>
                    <a:pt x="119" y="44"/>
                    <a:pt x="128" y="43"/>
                    <a:pt x="136" y="41"/>
                  </a:cubicBezTo>
                  <a:cubicBezTo>
                    <a:pt x="144" y="40"/>
                    <a:pt x="151" y="38"/>
                    <a:pt x="158" y="36"/>
                  </a:cubicBezTo>
                  <a:cubicBezTo>
                    <a:pt x="172" y="31"/>
                    <a:pt x="184" y="25"/>
                    <a:pt x="194" y="20"/>
                  </a:cubicBezTo>
                  <a:cubicBezTo>
                    <a:pt x="203" y="15"/>
                    <a:pt x="210" y="10"/>
                    <a:pt x="214" y="6"/>
                  </a:cubicBezTo>
                  <a:cubicBezTo>
                    <a:pt x="217" y="4"/>
                    <a:pt x="218" y="2"/>
                    <a:pt x="219" y="1"/>
                  </a:cubicBezTo>
                  <a:cubicBezTo>
                    <a:pt x="220" y="0"/>
                    <a:pt x="221" y="0"/>
                    <a:pt x="22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4" name="Freeform 367">
              <a:extLst>
                <a:ext uri="{FF2B5EF4-FFF2-40B4-BE49-F238E27FC236}">
                  <a16:creationId xmlns:a16="http://schemas.microsoft.com/office/drawing/2014/main" id="{91E37D12-A734-16A0-6B29-AC1A2B7BE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0" y="2389"/>
              <a:ext cx="229" cy="34"/>
            </a:xfrm>
            <a:custGeom>
              <a:avLst/>
              <a:gdLst>
                <a:gd name="T0" fmla="*/ 139 w 139"/>
                <a:gd name="T1" fmla="*/ 0 h 21"/>
                <a:gd name="T2" fmla="*/ 138 w 139"/>
                <a:gd name="T3" fmla="*/ 1 h 21"/>
                <a:gd name="T4" fmla="*/ 134 w 139"/>
                <a:gd name="T5" fmla="*/ 3 h 21"/>
                <a:gd name="T6" fmla="*/ 120 w 139"/>
                <a:gd name="T7" fmla="*/ 10 h 21"/>
                <a:gd name="T8" fmla="*/ 98 w 139"/>
                <a:gd name="T9" fmla="*/ 17 h 21"/>
                <a:gd name="T10" fmla="*/ 69 w 139"/>
                <a:gd name="T11" fmla="*/ 21 h 21"/>
                <a:gd name="T12" fmla="*/ 18 w 139"/>
                <a:gd name="T13" fmla="*/ 10 h 21"/>
                <a:gd name="T14" fmla="*/ 4 w 139"/>
                <a:gd name="T15" fmla="*/ 4 h 21"/>
                <a:gd name="T16" fmla="*/ 1 w 139"/>
                <a:gd name="T17" fmla="*/ 2 h 21"/>
                <a:gd name="T18" fmla="*/ 0 w 139"/>
                <a:gd name="T19" fmla="*/ 1 h 21"/>
                <a:gd name="T20" fmla="*/ 5 w 139"/>
                <a:gd name="T21" fmla="*/ 3 h 21"/>
                <a:gd name="T22" fmla="*/ 19 w 139"/>
                <a:gd name="T23" fmla="*/ 9 h 21"/>
                <a:gd name="T24" fmla="*/ 69 w 139"/>
                <a:gd name="T25" fmla="*/ 19 h 21"/>
                <a:gd name="T26" fmla="*/ 98 w 139"/>
                <a:gd name="T27" fmla="*/ 16 h 21"/>
                <a:gd name="T28" fmla="*/ 120 w 139"/>
                <a:gd name="T29" fmla="*/ 9 h 21"/>
                <a:gd name="T30" fmla="*/ 134 w 139"/>
                <a:gd name="T31" fmla="*/ 3 h 21"/>
                <a:gd name="T32" fmla="*/ 139 w 139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21">
                  <a:moveTo>
                    <a:pt x="139" y="0"/>
                  </a:moveTo>
                  <a:cubicBezTo>
                    <a:pt x="139" y="0"/>
                    <a:pt x="139" y="1"/>
                    <a:pt x="138" y="1"/>
                  </a:cubicBezTo>
                  <a:cubicBezTo>
                    <a:pt x="137" y="2"/>
                    <a:pt x="136" y="2"/>
                    <a:pt x="134" y="3"/>
                  </a:cubicBezTo>
                  <a:cubicBezTo>
                    <a:pt x="131" y="5"/>
                    <a:pt x="126" y="7"/>
                    <a:pt x="120" y="10"/>
                  </a:cubicBezTo>
                  <a:cubicBezTo>
                    <a:pt x="114" y="12"/>
                    <a:pt x="107" y="15"/>
                    <a:pt x="98" y="17"/>
                  </a:cubicBezTo>
                  <a:cubicBezTo>
                    <a:pt x="90" y="19"/>
                    <a:pt x="80" y="21"/>
                    <a:pt x="69" y="21"/>
                  </a:cubicBezTo>
                  <a:cubicBezTo>
                    <a:pt x="48" y="21"/>
                    <a:pt x="30" y="15"/>
                    <a:pt x="18" y="10"/>
                  </a:cubicBezTo>
                  <a:cubicBezTo>
                    <a:pt x="12" y="8"/>
                    <a:pt x="7" y="6"/>
                    <a:pt x="4" y="4"/>
                  </a:cubicBezTo>
                  <a:cubicBezTo>
                    <a:pt x="3" y="3"/>
                    <a:pt x="2" y="2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2"/>
                    <a:pt x="5" y="3"/>
                  </a:cubicBezTo>
                  <a:cubicBezTo>
                    <a:pt x="8" y="5"/>
                    <a:pt x="13" y="7"/>
                    <a:pt x="19" y="9"/>
                  </a:cubicBezTo>
                  <a:cubicBezTo>
                    <a:pt x="31" y="14"/>
                    <a:pt x="49" y="19"/>
                    <a:pt x="69" y="19"/>
                  </a:cubicBezTo>
                  <a:cubicBezTo>
                    <a:pt x="80" y="19"/>
                    <a:pt x="89" y="18"/>
                    <a:pt x="98" y="16"/>
                  </a:cubicBezTo>
                  <a:cubicBezTo>
                    <a:pt x="106" y="14"/>
                    <a:pt x="114" y="11"/>
                    <a:pt x="120" y="9"/>
                  </a:cubicBezTo>
                  <a:cubicBezTo>
                    <a:pt x="126" y="6"/>
                    <a:pt x="131" y="4"/>
                    <a:pt x="134" y="3"/>
                  </a:cubicBezTo>
                  <a:cubicBezTo>
                    <a:pt x="137" y="1"/>
                    <a:pt x="139" y="0"/>
                    <a:pt x="1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Freeform 368">
              <a:extLst>
                <a:ext uri="{FF2B5EF4-FFF2-40B4-BE49-F238E27FC236}">
                  <a16:creationId xmlns:a16="http://schemas.microsoft.com/office/drawing/2014/main" id="{F1209D3B-AB87-50ED-32F2-0BFE9DDBF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" y="2395"/>
              <a:ext cx="232" cy="76"/>
            </a:xfrm>
            <a:custGeom>
              <a:avLst/>
              <a:gdLst>
                <a:gd name="T0" fmla="*/ 141 w 141"/>
                <a:gd name="T1" fmla="*/ 1 h 46"/>
                <a:gd name="T2" fmla="*/ 139 w 141"/>
                <a:gd name="T3" fmla="*/ 1 h 46"/>
                <a:gd name="T4" fmla="*/ 135 w 141"/>
                <a:gd name="T5" fmla="*/ 1 h 46"/>
                <a:gd name="T6" fmla="*/ 132 w 141"/>
                <a:gd name="T7" fmla="*/ 1 h 46"/>
                <a:gd name="T8" fmla="*/ 128 w 141"/>
                <a:gd name="T9" fmla="*/ 1 h 46"/>
                <a:gd name="T10" fmla="*/ 118 w 141"/>
                <a:gd name="T11" fmla="*/ 1 h 46"/>
                <a:gd name="T12" fmla="*/ 113 w 141"/>
                <a:gd name="T13" fmla="*/ 1 h 46"/>
                <a:gd name="T14" fmla="*/ 107 w 141"/>
                <a:gd name="T15" fmla="*/ 2 h 46"/>
                <a:gd name="T16" fmla="*/ 93 w 141"/>
                <a:gd name="T17" fmla="*/ 4 h 46"/>
                <a:gd name="T18" fmla="*/ 64 w 141"/>
                <a:gd name="T19" fmla="*/ 11 h 46"/>
                <a:gd name="T20" fmla="*/ 37 w 141"/>
                <a:gd name="T21" fmla="*/ 22 h 46"/>
                <a:gd name="T22" fmla="*/ 26 w 141"/>
                <a:gd name="T23" fmla="*/ 28 h 46"/>
                <a:gd name="T24" fmla="*/ 21 w 141"/>
                <a:gd name="T25" fmla="*/ 30 h 46"/>
                <a:gd name="T26" fmla="*/ 17 w 141"/>
                <a:gd name="T27" fmla="*/ 33 h 46"/>
                <a:gd name="T28" fmla="*/ 9 w 141"/>
                <a:gd name="T29" fmla="*/ 38 h 46"/>
                <a:gd name="T30" fmla="*/ 6 w 141"/>
                <a:gd name="T31" fmla="*/ 41 h 46"/>
                <a:gd name="T32" fmla="*/ 4 w 141"/>
                <a:gd name="T33" fmla="*/ 42 h 46"/>
                <a:gd name="T34" fmla="*/ 1 w 141"/>
                <a:gd name="T35" fmla="*/ 45 h 46"/>
                <a:gd name="T36" fmla="*/ 0 w 141"/>
                <a:gd name="T37" fmla="*/ 46 h 46"/>
                <a:gd name="T38" fmla="*/ 1 w 141"/>
                <a:gd name="T39" fmla="*/ 45 h 46"/>
                <a:gd name="T40" fmla="*/ 4 w 141"/>
                <a:gd name="T41" fmla="*/ 42 h 46"/>
                <a:gd name="T42" fmla="*/ 6 w 141"/>
                <a:gd name="T43" fmla="*/ 40 h 46"/>
                <a:gd name="T44" fmla="*/ 9 w 141"/>
                <a:gd name="T45" fmla="*/ 38 h 46"/>
                <a:gd name="T46" fmla="*/ 16 w 141"/>
                <a:gd name="T47" fmla="*/ 33 h 46"/>
                <a:gd name="T48" fmla="*/ 20 w 141"/>
                <a:gd name="T49" fmla="*/ 30 h 46"/>
                <a:gd name="T50" fmla="*/ 25 w 141"/>
                <a:gd name="T51" fmla="*/ 27 h 46"/>
                <a:gd name="T52" fmla="*/ 36 w 141"/>
                <a:gd name="T53" fmla="*/ 21 h 46"/>
                <a:gd name="T54" fmla="*/ 64 w 141"/>
                <a:gd name="T55" fmla="*/ 9 h 46"/>
                <a:gd name="T56" fmla="*/ 93 w 141"/>
                <a:gd name="T57" fmla="*/ 2 h 46"/>
                <a:gd name="T58" fmla="*/ 106 w 141"/>
                <a:gd name="T59" fmla="*/ 1 h 46"/>
                <a:gd name="T60" fmla="*/ 112 w 141"/>
                <a:gd name="T61" fmla="*/ 0 h 46"/>
                <a:gd name="T62" fmla="*/ 118 w 141"/>
                <a:gd name="T63" fmla="*/ 0 h 46"/>
                <a:gd name="T64" fmla="*/ 128 w 141"/>
                <a:gd name="T65" fmla="*/ 0 h 46"/>
                <a:gd name="T66" fmla="*/ 132 w 141"/>
                <a:gd name="T67" fmla="*/ 0 h 46"/>
                <a:gd name="T68" fmla="*/ 135 w 141"/>
                <a:gd name="T69" fmla="*/ 1 h 46"/>
                <a:gd name="T70" fmla="*/ 139 w 141"/>
                <a:gd name="T71" fmla="*/ 1 h 46"/>
                <a:gd name="T72" fmla="*/ 141 w 141"/>
                <a:gd name="T73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1" h="46">
                  <a:moveTo>
                    <a:pt x="141" y="1"/>
                  </a:moveTo>
                  <a:cubicBezTo>
                    <a:pt x="141" y="2"/>
                    <a:pt x="140" y="2"/>
                    <a:pt x="139" y="1"/>
                  </a:cubicBezTo>
                  <a:cubicBezTo>
                    <a:pt x="138" y="1"/>
                    <a:pt x="137" y="1"/>
                    <a:pt x="135" y="1"/>
                  </a:cubicBezTo>
                  <a:cubicBezTo>
                    <a:pt x="134" y="1"/>
                    <a:pt x="133" y="1"/>
                    <a:pt x="132" y="1"/>
                  </a:cubicBezTo>
                  <a:cubicBezTo>
                    <a:pt x="130" y="1"/>
                    <a:pt x="129" y="1"/>
                    <a:pt x="128" y="1"/>
                  </a:cubicBezTo>
                  <a:cubicBezTo>
                    <a:pt x="125" y="1"/>
                    <a:pt x="122" y="1"/>
                    <a:pt x="118" y="1"/>
                  </a:cubicBezTo>
                  <a:cubicBezTo>
                    <a:pt x="116" y="1"/>
                    <a:pt x="114" y="1"/>
                    <a:pt x="113" y="1"/>
                  </a:cubicBezTo>
                  <a:cubicBezTo>
                    <a:pt x="111" y="2"/>
                    <a:pt x="109" y="2"/>
                    <a:pt x="107" y="2"/>
                  </a:cubicBezTo>
                  <a:cubicBezTo>
                    <a:pt x="102" y="2"/>
                    <a:pt x="98" y="3"/>
                    <a:pt x="93" y="4"/>
                  </a:cubicBezTo>
                  <a:cubicBezTo>
                    <a:pt x="84" y="5"/>
                    <a:pt x="74" y="8"/>
                    <a:pt x="64" y="11"/>
                  </a:cubicBezTo>
                  <a:cubicBezTo>
                    <a:pt x="54" y="14"/>
                    <a:pt x="45" y="18"/>
                    <a:pt x="37" y="22"/>
                  </a:cubicBezTo>
                  <a:cubicBezTo>
                    <a:pt x="33" y="24"/>
                    <a:pt x="29" y="26"/>
                    <a:pt x="26" y="28"/>
                  </a:cubicBezTo>
                  <a:cubicBezTo>
                    <a:pt x="24" y="29"/>
                    <a:pt x="22" y="30"/>
                    <a:pt x="21" y="30"/>
                  </a:cubicBezTo>
                  <a:cubicBezTo>
                    <a:pt x="19" y="31"/>
                    <a:pt x="18" y="32"/>
                    <a:pt x="17" y="33"/>
                  </a:cubicBezTo>
                  <a:cubicBezTo>
                    <a:pt x="14" y="35"/>
                    <a:pt x="11" y="37"/>
                    <a:pt x="9" y="38"/>
                  </a:cubicBezTo>
                  <a:cubicBezTo>
                    <a:pt x="8" y="39"/>
                    <a:pt x="7" y="40"/>
                    <a:pt x="6" y="41"/>
                  </a:cubicBezTo>
                  <a:cubicBezTo>
                    <a:pt x="6" y="41"/>
                    <a:pt x="5" y="42"/>
                    <a:pt x="4" y="42"/>
                  </a:cubicBezTo>
                  <a:cubicBezTo>
                    <a:pt x="3" y="44"/>
                    <a:pt x="2" y="44"/>
                    <a:pt x="1" y="4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1" y="45"/>
                  </a:cubicBezTo>
                  <a:cubicBezTo>
                    <a:pt x="1" y="44"/>
                    <a:pt x="2" y="43"/>
                    <a:pt x="4" y="42"/>
                  </a:cubicBezTo>
                  <a:cubicBezTo>
                    <a:pt x="4" y="41"/>
                    <a:pt x="5" y="41"/>
                    <a:pt x="6" y="40"/>
                  </a:cubicBezTo>
                  <a:cubicBezTo>
                    <a:pt x="7" y="39"/>
                    <a:pt x="8" y="39"/>
                    <a:pt x="9" y="38"/>
                  </a:cubicBezTo>
                  <a:cubicBezTo>
                    <a:pt x="11" y="36"/>
                    <a:pt x="13" y="34"/>
                    <a:pt x="16" y="33"/>
                  </a:cubicBezTo>
                  <a:cubicBezTo>
                    <a:pt x="17" y="32"/>
                    <a:pt x="19" y="31"/>
                    <a:pt x="20" y="30"/>
                  </a:cubicBezTo>
                  <a:cubicBezTo>
                    <a:pt x="22" y="29"/>
                    <a:pt x="23" y="28"/>
                    <a:pt x="25" y="27"/>
                  </a:cubicBezTo>
                  <a:cubicBezTo>
                    <a:pt x="28" y="25"/>
                    <a:pt x="32" y="23"/>
                    <a:pt x="36" y="21"/>
                  </a:cubicBezTo>
                  <a:cubicBezTo>
                    <a:pt x="44" y="17"/>
                    <a:pt x="53" y="13"/>
                    <a:pt x="64" y="9"/>
                  </a:cubicBezTo>
                  <a:cubicBezTo>
                    <a:pt x="74" y="6"/>
                    <a:pt x="84" y="4"/>
                    <a:pt x="93" y="2"/>
                  </a:cubicBezTo>
                  <a:cubicBezTo>
                    <a:pt x="98" y="2"/>
                    <a:pt x="102" y="1"/>
                    <a:pt x="106" y="1"/>
                  </a:cubicBezTo>
                  <a:cubicBezTo>
                    <a:pt x="108" y="1"/>
                    <a:pt x="110" y="0"/>
                    <a:pt x="112" y="0"/>
                  </a:cubicBezTo>
                  <a:cubicBezTo>
                    <a:pt x="114" y="0"/>
                    <a:pt x="116" y="0"/>
                    <a:pt x="118" y="0"/>
                  </a:cubicBezTo>
                  <a:cubicBezTo>
                    <a:pt x="122" y="0"/>
                    <a:pt x="125" y="0"/>
                    <a:pt x="128" y="0"/>
                  </a:cubicBezTo>
                  <a:cubicBezTo>
                    <a:pt x="129" y="0"/>
                    <a:pt x="130" y="0"/>
                    <a:pt x="132" y="0"/>
                  </a:cubicBezTo>
                  <a:cubicBezTo>
                    <a:pt x="133" y="0"/>
                    <a:pt x="134" y="1"/>
                    <a:pt x="135" y="1"/>
                  </a:cubicBezTo>
                  <a:cubicBezTo>
                    <a:pt x="137" y="1"/>
                    <a:pt x="138" y="1"/>
                    <a:pt x="139" y="1"/>
                  </a:cubicBezTo>
                  <a:cubicBezTo>
                    <a:pt x="141" y="1"/>
                    <a:pt x="141" y="1"/>
                    <a:pt x="14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6" name="Freeform 369">
              <a:extLst>
                <a:ext uri="{FF2B5EF4-FFF2-40B4-BE49-F238E27FC236}">
                  <a16:creationId xmlns:a16="http://schemas.microsoft.com/office/drawing/2014/main" id="{61A61FD9-88F5-067C-0045-ACE973E65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2" y="2395"/>
              <a:ext cx="462" cy="76"/>
            </a:xfrm>
            <a:custGeom>
              <a:avLst/>
              <a:gdLst>
                <a:gd name="T0" fmla="*/ 281 w 281"/>
                <a:gd name="T1" fmla="*/ 42 h 46"/>
                <a:gd name="T2" fmla="*/ 274 w 281"/>
                <a:gd name="T3" fmla="*/ 35 h 46"/>
                <a:gd name="T4" fmla="*/ 245 w 281"/>
                <a:gd name="T5" fmla="*/ 22 h 46"/>
                <a:gd name="T6" fmla="*/ 223 w 281"/>
                <a:gd name="T7" fmla="*/ 18 h 46"/>
                <a:gd name="T8" fmla="*/ 198 w 281"/>
                <a:gd name="T9" fmla="*/ 15 h 46"/>
                <a:gd name="T10" fmla="*/ 170 w 281"/>
                <a:gd name="T11" fmla="*/ 9 h 46"/>
                <a:gd name="T12" fmla="*/ 140 w 281"/>
                <a:gd name="T13" fmla="*/ 4 h 46"/>
                <a:gd name="T14" fmla="*/ 82 w 281"/>
                <a:gd name="T15" fmla="*/ 10 h 46"/>
                <a:gd name="T16" fmla="*/ 59 w 281"/>
                <a:gd name="T17" fmla="*/ 19 h 46"/>
                <a:gd name="T18" fmla="*/ 39 w 281"/>
                <a:gd name="T19" fmla="*/ 27 h 46"/>
                <a:gd name="T20" fmla="*/ 11 w 281"/>
                <a:gd name="T21" fmla="*/ 41 h 46"/>
                <a:gd name="T22" fmla="*/ 3 w 281"/>
                <a:gd name="T23" fmla="*/ 45 h 46"/>
                <a:gd name="T24" fmla="*/ 1 w 281"/>
                <a:gd name="T25" fmla="*/ 46 h 46"/>
                <a:gd name="T26" fmla="*/ 0 w 281"/>
                <a:gd name="T27" fmla="*/ 46 h 46"/>
                <a:gd name="T28" fmla="*/ 1 w 281"/>
                <a:gd name="T29" fmla="*/ 46 h 46"/>
                <a:gd name="T30" fmla="*/ 3 w 281"/>
                <a:gd name="T31" fmla="*/ 44 h 46"/>
                <a:gd name="T32" fmla="*/ 10 w 281"/>
                <a:gd name="T33" fmla="*/ 40 h 46"/>
                <a:gd name="T34" fmla="*/ 38 w 281"/>
                <a:gd name="T35" fmla="*/ 27 h 46"/>
                <a:gd name="T36" fmla="*/ 58 w 281"/>
                <a:gd name="T37" fmla="*/ 18 h 46"/>
                <a:gd name="T38" fmla="*/ 82 w 281"/>
                <a:gd name="T39" fmla="*/ 9 h 46"/>
                <a:gd name="T40" fmla="*/ 140 w 281"/>
                <a:gd name="T41" fmla="*/ 2 h 46"/>
                <a:gd name="T42" fmla="*/ 170 w 281"/>
                <a:gd name="T43" fmla="*/ 8 h 46"/>
                <a:gd name="T44" fmla="*/ 198 w 281"/>
                <a:gd name="T45" fmla="*/ 14 h 46"/>
                <a:gd name="T46" fmla="*/ 224 w 281"/>
                <a:gd name="T47" fmla="*/ 17 h 46"/>
                <a:gd name="T48" fmla="*/ 246 w 281"/>
                <a:gd name="T49" fmla="*/ 21 h 46"/>
                <a:gd name="T50" fmla="*/ 274 w 281"/>
                <a:gd name="T51" fmla="*/ 35 h 46"/>
                <a:gd name="T52" fmla="*/ 281 w 281"/>
                <a:gd name="T53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1" h="46">
                  <a:moveTo>
                    <a:pt x="281" y="42"/>
                  </a:moveTo>
                  <a:cubicBezTo>
                    <a:pt x="281" y="42"/>
                    <a:pt x="279" y="39"/>
                    <a:pt x="274" y="35"/>
                  </a:cubicBezTo>
                  <a:cubicBezTo>
                    <a:pt x="268" y="31"/>
                    <a:pt x="259" y="26"/>
                    <a:pt x="245" y="22"/>
                  </a:cubicBezTo>
                  <a:cubicBezTo>
                    <a:pt x="239" y="21"/>
                    <a:pt x="231" y="19"/>
                    <a:pt x="223" y="18"/>
                  </a:cubicBezTo>
                  <a:cubicBezTo>
                    <a:pt x="215" y="17"/>
                    <a:pt x="207" y="16"/>
                    <a:pt x="198" y="15"/>
                  </a:cubicBezTo>
                  <a:cubicBezTo>
                    <a:pt x="189" y="14"/>
                    <a:pt x="179" y="12"/>
                    <a:pt x="170" y="9"/>
                  </a:cubicBezTo>
                  <a:cubicBezTo>
                    <a:pt x="160" y="7"/>
                    <a:pt x="151" y="5"/>
                    <a:pt x="140" y="4"/>
                  </a:cubicBezTo>
                  <a:cubicBezTo>
                    <a:pt x="119" y="1"/>
                    <a:pt x="99" y="5"/>
                    <a:pt x="82" y="10"/>
                  </a:cubicBezTo>
                  <a:cubicBezTo>
                    <a:pt x="74" y="13"/>
                    <a:pt x="66" y="16"/>
                    <a:pt x="59" y="19"/>
                  </a:cubicBezTo>
                  <a:cubicBezTo>
                    <a:pt x="51" y="22"/>
                    <a:pt x="45" y="25"/>
                    <a:pt x="39" y="27"/>
                  </a:cubicBezTo>
                  <a:cubicBezTo>
                    <a:pt x="27" y="33"/>
                    <a:pt x="17" y="38"/>
                    <a:pt x="11" y="41"/>
                  </a:cubicBezTo>
                  <a:cubicBezTo>
                    <a:pt x="7" y="43"/>
                    <a:pt x="5" y="44"/>
                    <a:pt x="3" y="45"/>
                  </a:cubicBezTo>
                  <a:cubicBezTo>
                    <a:pt x="2" y="45"/>
                    <a:pt x="2" y="45"/>
                    <a:pt x="1" y="46"/>
                  </a:cubicBezTo>
                  <a:cubicBezTo>
                    <a:pt x="1" y="46"/>
                    <a:pt x="0" y="46"/>
                    <a:pt x="0" y="46"/>
                  </a:cubicBezTo>
                  <a:cubicBezTo>
                    <a:pt x="0" y="46"/>
                    <a:pt x="1" y="46"/>
                    <a:pt x="1" y="46"/>
                  </a:cubicBezTo>
                  <a:cubicBezTo>
                    <a:pt x="1" y="45"/>
                    <a:pt x="2" y="45"/>
                    <a:pt x="3" y="44"/>
                  </a:cubicBezTo>
                  <a:cubicBezTo>
                    <a:pt x="5" y="44"/>
                    <a:pt x="7" y="42"/>
                    <a:pt x="10" y="40"/>
                  </a:cubicBezTo>
                  <a:cubicBezTo>
                    <a:pt x="17" y="37"/>
                    <a:pt x="26" y="32"/>
                    <a:pt x="38" y="27"/>
                  </a:cubicBezTo>
                  <a:cubicBezTo>
                    <a:pt x="44" y="24"/>
                    <a:pt x="51" y="21"/>
                    <a:pt x="58" y="18"/>
                  </a:cubicBezTo>
                  <a:cubicBezTo>
                    <a:pt x="65" y="15"/>
                    <a:pt x="73" y="12"/>
                    <a:pt x="82" y="9"/>
                  </a:cubicBezTo>
                  <a:cubicBezTo>
                    <a:pt x="99" y="4"/>
                    <a:pt x="119" y="0"/>
                    <a:pt x="140" y="2"/>
                  </a:cubicBezTo>
                  <a:cubicBezTo>
                    <a:pt x="151" y="3"/>
                    <a:pt x="161" y="6"/>
                    <a:pt x="170" y="8"/>
                  </a:cubicBezTo>
                  <a:cubicBezTo>
                    <a:pt x="180" y="11"/>
                    <a:pt x="189" y="13"/>
                    <a:pt x="198" y="14"/>
                  </a:cubicBezTo>
                  <a:cubicBezTo>
                    <a:pt x="207" y="15"/>
                    <a:pt x="216" y="16"/>
                    <a:pt x="224" y="17"/>
                  </a:cubicBezTo>
                  <a:cubicBezTo>
                    <a:pt x="232" y="18"/>
                    <a:pt x="239" y="19"/>
                    <a:pt x="246" y="21"/>
                  </a:cubicBezTo>
                  <a:cubicBezTo>
                    <a:pt x="259" y="25"/>
                    <a:pt x="269" y="30"/>
                    <a:pt x="274" y="35"/>
                  </a:cubicBezTo>
                  <a:cubicBezTo>
                    <a:pt x="280" y="39"/>
                    <a:pt x="281" y="42"/>
                    <a:pt x="28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Freeform 370">
              <a:extLst>
                <a:ext uri="{FF2B5EF4-FFF2-40B4-BE49-F238E27FC236}">
                  <a16:creationId xmlns:a16="http://schemas.microsoft.com/office/drawing/2014/main" id="{6C8FB2B7-06FC-AA0F-E420-56D7906AD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2" y="2390"/>
              <a:ext cx="115" cy="81"/>
            </a:xfrm>
            <a:custGeom>
              <a:avLst/>
              <a:gdLst>
                <a:gd name="T0" fmla="*/ 70 w 70"/>
                <a:gd name="T1" fmla="*/ 0 h 49"/>
                <a:gd name="T2" fmla="*/ 70 w 70"/>
                <a:gd name="T3" fmla="*/ 3 h 49"/>
                <a:gd name="T4" fmla="*/ 67 w 70"/>
                <a:gd name="T5" fmla="*/ 12 h 49"/>
                <a:gd name="T6" fmla="*/ 45 w 70"/>
                <a:gd name="T7" fmla="*/ 34 h 49"/>
                <a:gd name="T8" fmla="*/ 14 w 70"/>
                <a:gd name="T9" fmla="*/ 46 h 49"/>
                <a:gd name="T10" fmla="*/ 3 w 70"/>
                <a:gd name="T11" fmla="*/ 48 h 49"/>
                <a:gd name="T12" fmla="*/ 0 w 70"/>
                <a:gd name="T13" fmla="*/ 49 h 49"/>
                <a:gd name="T14" fmla="*/ 3 w 70"/>
                <a:gd name="T15" fmla="*/ 48 h 49"/>
                <a:gd name="T16" fmla="*/ 13 w 70"/>
                <a:gd name="T17" fmla="*/ 45 h 49"/>
                <a:gd name="T18" fmla="*/ 44 w 70"/>
                <a:gd name="T19" fmla="*/ 33 h 49"/>
                <a:gd name="T20" fmla="*/ 66 w 70"/>
                <a:gd name="T21" fmla="*/ 11 h 49"/>
                <a:gd name="T22" fmla="*/ 70 w 70"/>
                <a:gd name="T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49">
                  <a:moveTo>
                    <a:pt x="70" y="0"/>
                  </a:moveTo>
                  <a:cubicBezTo>
                    <a:pt x="70" y="0"/>
                    <a:pt x="70" y="1"/>
                    <a:pt x="70" y="3"/>
                  </a:cubicBezTo>
                  <a:cubicBezTo>
                    <a:pt x="69" y="5"/>
                    <a:pt x="68" y="8"/>
                    <a:pt x="67" y="12"/>
                  </a:cubicBezTo>
                  <a:cubicBezTo>
                    <a:pt x="64" y="18"/>
                    <a:pt x="57" y="28"/>
                    <a:pt x="45" y="34"/>
                  </a:cubicBezTo>
                  <a:cubicBezTo>
                    <a:pt x="34" y="40"/>
                    <a:pt x="22" y="44"/>
                    <a:pt x="14" y="46"/>
                  </a:cubicBezTo>
                  <a:cubicBezTo>
                    <a:pt x="9" y="47"/>
                    <a:pt x="6" y="48"/>
                    <a:pt x="3" y="48"/>
                  </a:cubicBezTo>
                  <a:cubicBezTo>
                    <a:pt x="1" y="49"/>
                    <a:pt x="0" y="49"/>
                    <a:pt x="0" y="49"/>
                  </a:cubicBezTo>
                  <a:cubicBezTo>
                    <a:pt x="0" y="49"/>
                    <a:pt x="1" y="48"/>
                    <a:pt x="3" y="48"/>
                  </a:cubicBezTo>
                  <a:cubicBezTo>
                    <a:pt x="6" y="47"/>
                    <a:pt x="9" y="46"/>
                    <a:pt x="13" y="45"/>
                  </a:cubicBezTo>
                  <a:cubicBezTo>
                    <a:pt x="21" y="42"/>
                    <a:pt x="33" y="39"/>
                    <a:pt x="44" y="33"/>
                  </a:cubicBezTo>
                  <a:cubicBezTo>
                    <a:pt x="56" y="27"/>
                    <a:pt x="62" y="18"/>
                    <a:pt x="66" y="11"/>
                  </a:cubicBezTo>
                  <a:cubicBezTo>
                    <a:pt x="69" y="5"/>
                    <a:pt x="69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Freeform 371">
              <a:extLst>
                <a:ext uri="{FF2B5EF4-FFF2-40B4-BE49-F238E27FC236}">
                  <a16:creationId xmlns:a16="http://schemas.microsoft.com/office/drawing/2014/main" id="{1E7C6B28-91E3-A125-9860-C02186FEF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2390"/>
              <a:ext cx="171" cy="81"/>
            </a:xfrm>
            <a:custGeom>
              <a:avLst/>
              <a:gdLst>
                <a:gd name="T0" fmla="*/ 1 w 104"/>
                <a:gd name="T1" fmla="*/ 49 h 49"/>
                <a:gd name="T2" fmla="*/ 4 w 104"/>
                <a:gd name="T3" fmla="*/ 46 h 49"/>
                <a:gd name="T4" fmla="*/ 14 w 104"/>
                <a:gd name="T5" fmla="*/ 40 h 49"/>
                <a:gd name="T6" fmla="*/ 50 w 104"/>
                <a:gd name="T7" fmla="*/ 21 h 49"/>
                <a:gd name="T8" fmla="*/ 87 w 104"/>
                <a:gd name="T9" fmla="*/ 6 h 49"/>
                <a:gd name="T10" fmla="*/ 99 w 104"/>
                <a:gd name="T11" fmla="*/ 1 h 49"/>
                <a:gd name="T12" fmla="*/ 104 w 104"/>
                <a:gd name="T13" fmla="*/ 0 h 49"/>
                <a:gd name="T14" fmla="*/ 99 w 104"/>
                <a:gd name="T15" fmla="*/ 2 h 49"/>
                <a:gd name="T16" fmla="*/ 88 w 104"/>
                <a:gd name="T17" fmla="*/ 7 h 49"/>
                <a:gd name="T18" fmla="*/ 50 w 104"/>
                <a:gd name="T19" fmla="*/ 22 h 49"/>
                <a:gd name="T20" fmla="*/ 15 w 104"/>
                <a:gd name="T21" fmla="*/ 41 h 49"/>
                <a:gd name="T22" fmla="*/ 4 w 104"/>
                <a:gd name="T23" fmla="*/ 47 h 49"/>
                <a:gd name="T24" fmla="*/ 1 w 104"/>
                <a:gd name="T2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49">
                  <a:moveTo>
                    <a:pt x="1" y="49"/>
                  </a:moveTo>
                  <a:cubicBezTo>
                    <a:pt x="0" y="49"/>
                    <a:pt x="2" y="48"/>
                    <a:pt x="4" y="46"/>
                  </a:cubicBezTo>
                  <a:cubicBezTo>
                    <a:pt x="6" y="45"/>
                    <a:pt x="10" y="42"/>
                    <a:pt x="14" y="40"/>
                  </a:cubicBezTo>
                  <a:cubicBezTo>
                    <a:pt x="22" y="34"/>
                    <a:pt x="35" y="28"/>
                    <a:pt x="50" y="21"/>
                  </a:cubicBezTo>
                  <a:cubicBezTo>
                    <a:pt x="64" y="15"/>
                    <a:pt x="78" y="9"/>
                    <a:pt x="87" y="6"/>
                  </a:cubicBezTo>
                  <a:cubicBezTo>
                    <a:pt x="92" y="4"/>
                    <a:pt x="96" y="2"/>
                    <a:pt x="99" y="1"/>
                  </a:cubicBezTo>
                  <a:cubicBezTo>
                    <a:pt x="102" y="1"/>
                    <a:pt x="103" y="0"/>
                    <a:pt x="104" y="0"/>
                  </a:cubicBezTo>
                  <a:cubicBezTo>
                    <a:pt x="104" y="0"/>
                    <a:pt x="102" y="1"/>
                    <a:pt x="99" y="2"/>
                  </a:cubicBezTo>
                  <a:cubicBezTo>
                    <a:pt x="96" y="3"/>
                    <a:pt x="93" y="5"/>
                    <a:pt x="88" y="7"/>
                  </a:cubicBezTo>
                  <a:cubicBezTo>
                    <a:pt x="78" y="11"/>
                    <a:pt x="65" y="16"/>
                    <a:pt x="50" y="22"/>
                  </a:cubicBezTo>
                  <a:cubicBezTo>
                    <a:pt x="36" y="29"/>
                    <a:pt x="23" y="35"/>
                    <a:pt x="15" y="41"/>
                  </a:cubicBezTo>
                  <a:cubicBezTo>
                    <a:pt x="10" y="43"/>
                    <a:pt x="7" y="45"/>
                    <a:pt x="4" y="47"/>
                  </a:cubicBezTo>
                  <a:cubicBezTo>
                    <a:pt x="2" y="48"/>
                    <a:pt x="1" y="49"/>
                    <a:pt x="1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9" name="Freeform 372">
              <a:extLst>
                <a:ext uri="{FF2B5EF4-FFF2-40B4-BE49-F238E27FC236}">
                  <a16:creationId xmlns:a16="http://schemas.microsoft.com/office/drawing/2014/main" id="{95250DB3-BA8E-2C0C-EB84-9B71D1EBD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" y="2394"/>
              <a:ext cx="357" cy="77"/>
            </a:xfrm>
            <a:custGeom>
              <a:avLst/>
              <a:gdLst>
                <a:gd name="T0" fmla="*/ 217 w 217"/>
                <a:gd name="T1" fmla="*/ 0 h 47"/>
                <a:gd name="T2" fmla="*/ 208 w 217"/>
                <a:gd name="T3" fmla="*/ 0 h 47"/>
                <a:gd name="T4" fmla="*/ 185 w 217"/>
                <a:gd name="T5" fmla="*/ 6 h 47"/>
                <a:gd name="T6" fmla="*/ 155 w 217"/>
                <a:gd name="T7" fmla="*/ 22 h 47"/>
                <a:gd name="T8" fmla="*/ 137 w 217"/>
                <a:gd name="T9" fmla="*/ 32 h 47"/>
                <a:gd name="T10" fmla="*/ 115 w 217"/>
                <a:gd name="T11" fmla="*/ 39 h 47"/>
                <a:gd name="T12" fmla="*/ 70 w 217"/>
                <a:gd name="T13" fmla="*/ 43 h 47"/>
                <a:gd name="T14" fmla="*/ 34 w 217"/>
                <a:gd name="T15" fmla="*/ 44 h 47"/>
                <a:gd name="T16" fmla="*/ 9 w 217"/>
                <a:gd name="T17" fmla="*/ 46 h 47"/>
                <a:gd name="T18" fmla="*/ 2 w 217"/>
                <a:gd name="T19" fmla="*/ 47 h 47"/>
                <a:gd name="T20" fmla="*/ 0 w 217"/>
                <a:gd name="T21" fmla="*/ 47 h 47"/>
                <a:gd name="T22" fmla="*/ 2 w 217"/>
                <a:gd name="T23" fmla="*/ 46 h 47"/>
                <a:gd name="T24" fmla="*/ 9 w 217"/>
                <a:gd name="T25" fmla="*/ 45 h 47"/>
                <a:gd name="T26" fmla="*/ 33 w 217"/>
                <a:gd name="T27" fmla="*/ 43 h 47"/>
                <a:gd name="T28" fmla="*/ 70 w 217"/>
                <a:gd name="T29" fmla="*/ 42 h 47"/>
                <a:gd name="T30" fmla="*/ 114 w 217"/>
                <a:gd name="T31" fmla="*/ 37 h 47"/>
                <a:gd name="T32" fmla="*/ 136 w 217"/>
                <a:gd name="T33" fmla="*/ 31 h 47"/>
                <a:gd name="T34" fmla="*/ 154 w 217"/>
                <a:gd name="T35" fmla="*/ 21 h 47"/>
                <a:gd name="T36" fmla="*/ 184 w 217"/>
                <a:gd name="T37" fmla="*/ 5 h 47"/>
                <a:gd name="T38" fmla="*/ 208 w 217"/>
                <a:gd name="T39" fmla="*/ 0 h 47"/>
                <a:gd name="T40" fmla="*/ 215 w 217"/>
                <a:gd name="T41" fmla="*/ 0 h 47"/>
                <a:gd name="T42" fmla="*/ 217 w 217"/>
                <a:gd name="T4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7" h="47">
                  <a:moveTo>
                    <a:pt x="217" y="0"/>
                  </a:moveTo>
                  <a:cubicBezTo>
                    <a:pt x="217" y="0"/>
                    <a:pt x="214" y="0"/>
                    <a:pt x="208" y="0"/>
                  </a:cubicBezTo>
                  <a:cubicBezTo>
                    <a:pt x="203" y="1"/>
                    <a:pt x="194" y="2"/>
                    <a:pt x="185" y="6"/>
                  </a:cubicBezTo>
                  <a:cubicBezTo>
                    <a:pt x="176" y="10"/>
                    <a:pt x="166" y="16"/>
                    <a:pt x="155" y="22"/>
                  </a:cubicBezTo>
                  <a:cubicBezTo>
                    <a:pt x="149" y="26"/>
                    <a:pt x="143" y="29"/>
                    <a:pt x="137" y="32"/>
                  </a:cubicBezTo>
                  <a:cubicBezTo>
                    <a:pt x="130" y="35"/>
                    <a:pt x="122" y="37"/>
                    <a:pt x="115" y="39"/>
                  </a:cubicBezTo>
                  <a:cubicBezTo>
                    <a:pt x="99" y="42"/>
                    <a:pt x="84" y="43"/>
                    <a:pt x="70" y="43"/>
                  </a:cubicBezTo>
                  <a:cubicBezTo>
                    <a:pt x="56" y="43"/>
                    <a:pt x="44" y="43"/>
                    <a:pt x="34" y="44"/>
                  </a:cubicBezTo>
                  <a:cubicBezTo>
                    <a:pt x="23" y="44"/>
                    <a:pt x="15" y="45"/>
                    <a:pt x="9" y="46"/>
                  </a:cubicBezTo>
                  <a:cubicBezTo>
                    <a:pt x="6" y="46"/>
                    <a:pt x="4" y="46"/>
                    <a:pt x="2" y="47"/>
                  </a:cubicBezTo>
                  <a:cubicBezTo>
                    <a:pt x="1" y="47"/>
                    <a:pt x="0" y="47"/>
                    <a:pt x="0" y="47"/>
                  </a:cubicBezTo>
                  <a:cubicBezTo>
                    <a:pt x="0" y="47"/>
                    <a:pt x="1" y="47"/>
                    <a:pt x="2" y="46"/>
                  </a:cubicBezTo>
                  <a:cubicBezTo>
                    <a:pt x="4" y="46"/>
                    <a:pt x="6" y="46"/>
                    <a:pt x="9" y="45"/>
                  </a:cubicBezTo>
                  <a:cubicBezTo>
                    <a:pt x="15" y="44"/>
                    <a:pt x="23" y="43"/>
                    <a:pt x="33" y="43"/>
                  </a:cubicBezTo>
                  <a:cubicBezTo>
                    <a:pt x="44" y="42"/>
                    <a:pt x="56" y="42"/>
                    <a:pt x="70" y="42"/>
                  </a:cubicBezTo>
                  <a:cubicBezTo>
                    <a:pt x="84" y="41"/>
                    <a:pt x="99" y="41"/>
                    <a:pt x="114" y="37"/>
                  </a:cubicBezTo>
                  <a:cubicBezTo>
                    <a:pt x="122" y="36"/>
                    <a:pt x="129" y="34"/>
                    <a:pt x="136" y="31"/>
                  </a:cubicBezTo>
                  <a:cubicBezTo>
                    <a:pt x="142" y="28"/>
                    <a:pt x="148" y="25"/>
                    <a:pt x="154" y="21"/>
                  </a:cubicBezTo>
                  <a:cubicBezTo>
                    <a:pt x="165" y="15"/>
                    <a:pt x="175" y="9"/>
                    <a:pt x="184" y="5"/>
                  </a:cubicBezTo>
                  <a:cubicBezTo>
                    <a:pt x="194" y="1"/>
                    <a:pt x="202" y="0"/>
                    <a:pt x="208" y="0"/>
                  </a:cubicBezTo>
                  <a:cubicBezTo>
                    <a:pt x="211" y="0"/>
                    <a:pt x="213" y="0"/>
                    <a:pt x="215" y="0"/>
                  </a:cubicBezTo>
                  <a:cubicBezTo>
                    <a:pt x="217" y="0"/>
                    <a:pt x="217" y="0"/>
                    <a:pt x="21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Freeform 373">
              <a:extLst>
                <a:ext uri="{FF2B5EF4-FFF2-40B4-BE49-F238E27FC236}">
                  <a16:creationId xmlns:a16="http://schemas.microsoft.com/office/drawing/2014/main" id="{53C2F915-AE6C-80AA-8A0C-BBE356C37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" y="2390"/>
              <a:ext cx="170" cy="81"/>
            </a:xfrm>
            <a:custGeom>
              <a:avLst/>
              <a:gdLst>
                <a:gd name="T0" fmla="*/ 0 w 103"/>
                <a:gd name="T1" fmla="*/ 49 h 49"/>
                <a:gd name="T2" fmla="*/ 3 w 103"/>
                <a:gd name="T3" fmla="*/ 46 h 49"/>
                <a:gd name="T4" fmla="*/ 13 w 103"/>
                <a:gd name="T5" fmla="*/ 40 h 49"/>
                <a:gd name="T6" fmla="*/ 49 w 103"/>
                <a:gd name="T7" fmla="*/ 21 h 49"/>
                <a:gd name="T8" fmla="*/ 87 w 103"/>
                <a:gd name="T9" fmla="*/ 6 h 49"/>
                <a:gd name="T10" fmla="*/ 98 w 103"/>
                <a:gd name="T11" fmla="*/ 1 h 49"/>
                <a:gd name="T12" fmla="*/ 103 w 103"/>
                <a:gd name="T13" fmla="*/ 0 h 49"/>
                <a:gd name="T14" fmla="*/ 99 w 103"/>
                <a:gd name="T15" fmla="*/ 2 h 49"/>
                <a:gd name="T16" fmla="*/ 87 w 103"/>
                <a:gd name="T17" fmla="*/ 7 h 49"/>
                <a:gd name="T18" fmla="*/ 50 w 103"/>
                <a:gd name="T19" fmla="*/ 22 h 49"/>
                <a:gd name="T20" fmla="*/ 14 w 103"/>
                <a:gd name="T21" fmla="*/ 41 h 49"/>
                <a:gd name="T22" fmla="*/ 4 w 103"/>
                <a:gd name="T23" fmla="*/ 47 h 49"/>
                <a:gd name="T24" fmla="*/ 0 w 103"/>
                <a:gd name="T2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49">
                  <a:moveTo>
                    <a:pt x="0" y="49"/>
                  </a:moveTo>
                  <a:cubicBezTo>
                    <a:pt x="0" y="49"/>
                    <a:pt x="1" y="48"/>
                    <a:pt x="3" y="46"/>
                  </a:cubicBezTo>
                  <a:cubicBezTo>
                    <a:pt x="6" y="45"/>
                    <a:pt x="9" y="42"/>
                    <a:pt x="13" y="40"/>
                  </a:cubicBezTo>
                  <a:cubicBezTo>
                    <a:pt x="22" y="34"/>
                    <a:pt x="34" y="28"/>
                    <a:pt x="49" y="21"/>
                  </a:cubicBezTo>
                  <a:cubicBezTo>
                    <a:pt x="63" y="15"/>
                    <a:pt x="77" y="9"/>
                    <a:pt x="87" y="6"/>
                  </a:cubicBezTo>
                  <a:cubicBezTo>
                    <a:pt x="92" y="4"/>
                    <a:pt x="96" y="2"/>
                    <a:pt x="98" y="1"/>
                  </a:cubicBezTo>
                  <a:cubicBezTo>
                    <a:pt x="101" y="1"/>
                    <a:pt x="103" y="0"/>
                    <a:pt x="103" y="0"/>
                  </a:cubicBezTo>
                  <a:cubicBezTo>
                    <a:pt x="103" y="0"/>
                    <a:pt x="101" y="1"/>
                    <a:pt x="99" y="2"/>
                  </a:cubicBezTo>
                  <a:cubicBezTo>
                    <a:pt x="96" y="3"/>
                    <a:pt x="92" y="5"/>
                    <a:pt x="87" y="7"/>
                  </a:cubicBezTo>
                  <a:cubicBezTo>
                    <a:pt x="78" y="11"/>
                    <a:pt x="64" y="16"/>
                    <a:pt x="50" y="22"/>
                  </a:cubicBezTo>
                  <a:cubicBezTo>
                    <a:pt x="35" y="29"/>
                    <a:pt x="23" y="35"/>
                    <a:pt x="14" y="41"/>
                  </a:cubicBezTo>
                  <a:cubicBezTo>
                    <a:pt x="10" y="43"/>
                    <a:pt x="6" y="45"/>
                    <a:pt x="4" y="47"/>
                  </a:cubicBezTo>
                  <a:cubicBezTo>
                    <a:pt x="1" y="48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1" name="Freeform 374">
              <a:extLst>
                <a:ext uri="{FF2B5EF4-FFF2-40B4-BE49-F238E27FC236}">
                  <a16:creationId xmlns:a16="http://schemas.microsoft.com/office/drawing/2014/main" id="{13998D6B-799A-691C-7E07-C12160F1D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7" y="2394"/>
              <a:ext cx="359" cy="77"/>
            </a:xfrm>
            <a:custGeom>
              <a:avLst/>
              <a:gdLst>
                <a:gd name="T0" fmla="*/ 218 w 218"/>
                <a:gd name="T1" fmla="*/ 0 h 47"/>
                <a:gd name="T2" fmla="*/ 209 w 218"/>
                <a:gd name="T3" fmla="*/ 0 h 47"/>
                <a:gd name="T4" fmla="*/ 185 w 218"/>
                <a:gd name="T5" fmla="*/ 6 h 47"/>
                <a:gd name="T6" fmla="*/ 155 w 218"/>
                <a:gd name="T7" fmla="*/ 22 h 47"/>
                <a:gd name="T8" fmla="*/ 137 w 218"/>
                <a:gd name="T9" fmla="*/ 32 h 47"/>
                <a:gd name="T10" fmla="*/ 115 w 218"/>
                <a:gd name="T11" fmla="*/ 39 h 47"/>
                <a:gd name="T12" fmla="*/ 70 w 218"/>
                <a:gd name="T13" fmla="*/ 43 h 47"/>
                <a:gd name="T14" fmla="*/ 34 w 218"/>
                <a:gd name="T15" fmla="*/ 44 h 47"/>
                <a:gd name="T16" fmla="*/ 9 w 218"/>
                <a:gd name="T17" fmla="*/ 46 h 47"/>
                <a:gd name="T18" fmla="*/ 3 w 218"/>
                <a:gd name="T19" fmla="*/ 47 h 47"/>
                <a:gd name="T20" fmla="*/ 1 w 218"/>
                <a:gd name="T21" fmla="*/ 47 h 47"/>
                <a:gd name="T22" fmla="*/ 3 w 218"/>
                <a:gd name="T23" fmla="*/ 46 h 47"/>
                <a:gd name="T24" fmla="*/ 9 w 218"/>
                <a:gd name="T25" fmla="*/ 45 h 47"/>
                <a:gd name="T26" fmla="*/ 34 w 218"/>
                <a:gd name="T27" fmla="*/ 43 h 47"/>
                <a:gd name="T28" fmla="*/ 70 w 218"/>
                <a:gd name="T29" fmla="*/ 42 h 47"/>
                <a:gd name="T30" fmla="*/ 115 w 218"/>
                <a:gd name="T31" fmla="*/ 37 h 47"/>
                <a:gd name="T32" fmla="*/ 136 w 218"/>
                <a:gd name="T33" fmla="*/ 31 h 47"/>
                <a:gd name="T34" fmla="*/ 154 w 218"/>
                <a:gd name="T35" fmla="*/ 21 h 47"/>
                <a:gd name="T36" fmla="*/ 185 w 218"/>
                <a:gd name="T37" fmla="*/ 5 h 47"/>
                <a:gd name="T38" fmla="*/ 209 w 218"/>
                <a:gd name="T39" fmla="*/ 0 h 47"/>
                <a:gd name="T40" fmla="*/ 215 w 218"/>
                <a:gd name="T41" fmla="*/ 0 h 47"/>
                <a:gd name="T42" fmla="*/ 218 w 218"/>
                <a:gd name="T4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8" h="47">
                  <a:moveTo>
                    <a:pt x="218" y="0"/>
                  </a:moveTo>
                  <a:cubicBezTo>
                    <a:pt x="218" y="0"/>
                    <a:pt x="214" y="0"/>
                    <a:pt x="209" y="0"/>
                  </a:cubicBezTo>
                  <a:cubicBezTo>
                    <a:pt x="203" y="1"/>
                    <a:pt x="195" y="2"/>
                    <a:pt x="185" y="6"/>
                  </a:cubicBezTo>
                  <a:cubicBezTo>
                    <a:pt x="176" y="10"/>
                    <a:pt x="166" y="16"/>
                    <a:pt x="155" y="22"/>
                  </a:cubicBezTo>
                  <a:cubicBezTo>
                    <a:pt x="150" y="26"/>
                    <a:pt x="144" y="29"/>
                    <a:pt x="137" y="32"/>
                  </a:cubicBezTo>
                  <a:cubicBezTo>
                    <a:pt x="130" y="35"/>
                    <a:pt x="123" y="37"/>
                    <a:pt x="115" y="39"/>
                  </a:cubicBezTo>
                  <a:cubicBezTo>
                    <a:pt x="100" y="42"/>
                    <a:pt x="84" y="43"/>
                    <a:pt x="70" y="43"/>
                  </a:cubicBezTo>
                  <a:cubicBezTo>
                    <a:pt x="57" y="43"/>
                    <a:pt x="44" y="43"/>
                    <a:pt x="34" y="44"/>
                  </a:cubicBezTo>
                  <a:cubicBezTo>
                    <a:pt x="23" y="44"/>
                    <a:pt x="15" y="45"/>
                    <a:pt x="9" y="46"/>
                  </a:cubicBezTo>
                  <a:cubicBezTo>
                    <a:pt x="7" y="46"/>
                    <a:pt x="4" y="46"/>
                    <a:pt x="3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7"/>
                    <a:pt x="1" y="47"/>
                    <a:pt x="3" y="46"/>
                  </a:cubicBezTo>
                  <a:cubicBezTo>
                    <a:pt x="4" y="46"/>
                    <a:pt x="6" y="46"/>
                    <a:pt x="9" y="45"/>
                  </a:cubicBezTo>
                  <a:cubicBezTo>
                    <a:pt x="15" y="44"/>
                    <a:pt x="23" y="43"/>
                    <a:pt x="34" y="43"/>
                  </a:cubicBezTo>
                  <a:cubicBezTo>
                    <a:pt x="44" y="42"/>
                    <a:pt x="57" y="42"/>
                    <a:pt x="70" y="42"/>
                  </a:cubicBezTo>
                  <a:cubicBezTo>
                    <a:pt x="84" y="41"/>
                    <a:pt x="99" y="41"/>
                    <a:pt x="115" y="37"/>
                  </a:cubicBezTo>
                  <a:cubicBezTo>
                    <a:pt x="122" y="36"/>
                    <a:pt x="130" y="34"/>
                    <a:pt x="136" y="31"/>
                  </a:cubicBezTo>
                  <a:cubicBezTo>
                    <a:pt x="143" y="28"/>
                    <a:pt x="149" y="25"/>
                    <a:pt x="154" y="21"/>
                  </a:cubicBezTo>
                  <a:cubicBezTo>
                    <a:pt x="165" y="15"/>
                    <a:pt x="175" y="9"/>
                    <a:pt x="185" y="5"/>
                  </a:cubicBezTo>
                  <a:cubicBezTo>
                    <a:pt x="194" y="1"/>
                    <a:pt x="203" y="0"/>
                    <a:pt x="209" y="0"/>
                  </a:cubicBezTo>
                  <a:cubicBezTo>
                    <a:pt x="212" y="0"/>
                    <a:pt x="214" y="0"/>
                    <a:pt x="215" y="0"/>
                  </a:cubicBezTo>
                  <a:cubicBezTo>
                    <a:pt x="217" y="0"/>
                    <a:pt x="218" y="0"/>
                    <a:pt x="21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Oval 375">
              <a:extLst>
                <a:ext uri="{FF2B5EF4-FFF2-40B4-BE49-F238E27FC236}">
                  <a16:creationId xmlns:a16="http://schemas.microsoft.com/office/drawing/2014/main" id="{D00AEDCD-C7A4-C89C-62E4-DDE6DD0A63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7" y="2387"/>
              <a:ext cx="428" cy="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164406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8">
            <a:extLst>
              <a:ext uri="{FF2B5EF4-FFF2-40B4-BE49-F238E27FC236}">
                <a16:creationId xmlns:a16="http://schemas.microsoft.com/office/drawing/2014/main" id="{C079F2C6-7CBF-2C43-2176-291A3DB3058C}"/>
              </a:ext>
            </a:extLst>
          </p:cNvPr>
          <p:cNvSpPr/>
          <p:nvPr/>
        </p:nvSpPr>
        <p:spPr>
          <a:xfrm rot="5400000">
            <a:off x="11532390" y="6183792"/>
            <a:ext cx="647632" cy="630268"/>
          </a:xfrm>
          <a:prstGeom prst="roundRect">
            <a:avLst>
              <a:gd name="adj" fmla="val 50000"/>
            </a:avLst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FFB29926-DD9E-1075-D32A-8F01618F59D2}"/>
              </a:ext>
            </a:extLst>
          </p:cNvPr>
          <p:cNvSpPr/>
          <p:nvPr/>
        </p:nvSpPr>
        <p:spPr>
          <a:xfrm rot="5400000">
            <a:off x="11532390" y="6183792"/>
            <a:ext cx="647632" cy="630268"/>
          </a:xfrm>
          <a:prstGeom prst="roundRect">
            <a:avLst>
              <a:gd name="adj" fmla="val 50000"/>
            </a:avLst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99B61CDC-0386-D444-FAA8-4E666C5A72FE}"/>
              </a:ext>
            </a:extLst>
          </p:cNvPr>
          <p:cNvSpPr/>
          <p:nvPr/>
        </p:nvSpPr>
        <p:spPr>
          <a:xfrm>
            <a:off x="322040" y="1438871"/>
            <a:ext cx="6085385" cy="1967745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  <a:effectLst/>
        </p:spPr>
        <p:txBody>
          <a:bodyPr vert="horz" wrap="square" lIns="252000" tIns="396000" rIns="0" bIns="0" rtlCol="0"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r-FR" sz="1600" dirty="0">
                <a:latin typeface="Segeo ui"/>
              </a:rPr>
              <a:t>Noms des gares ne sont pas </a:t>
            </a:r>
            <a:r>
              <a:rPr lang="fr-FR" sz="1600" b="1" dirty="0">
                <a:latin typeface="Segeo ui"/>
              </a:rPr>
              <a:t>normalisés</a:t>
            </a:r>
            <a:r>
              <a:rPr lang="fr-FR" sz="1600" dirty="0">
                <a:latin typeface="Segeo ui"/>
              </a:rPr>
              <a:t> (problème d’accent, </a:t>
            </a:r>
            <a:r>
              <a:rPr lang="fr-FR" sz="1600" dirty="0" err="1">
                <a:latin typeface="Segeo ui"/>
              </a:rPr>
              <a:t>etc</a:t>
            </a:r>
            <a:r>
              <a:rPr lang="fr-FR" sz="1600" dirty="0">
                <a:latin typeface="Segeo ui"/>
              </a:rPr>
              <a:t>)</a:t>
            </a:r>
            <a:endParaRPr lang="fr-FR" sz="1600" b="1" dirty="0">
              <a:latin typeface="Segeo ui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r-FR" sz="1600" dirty="0">
                <a:latin typeface="Segeo ui"/>
              </a:rPr>
              <a:t>Aucunes données sur la localisation des gares pour la visualisation , donc rajout  :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600" dirty="0" err="1">
                <a:latin typeface="Segeo ui"/>
              </a:rPr>
              <a:t>Dataset</a:t>
            </a:r>
            <a:r>
              <a:rPr lang="fr-FR" sz="1600" dirty="0">
                <a:latin typeface="Segeo ui"/>
              </a:rPr>
              <a:t> </a:t>
            </a:r>
            <a:r>
              <a:rPr lang="fr-FR" sz="1600" b="1" dirty="0">
                <a:latin typeface="Segeo ui"/>
              </a:rPr>
              <a:t>Listes-des-gares</a:t>
            </a:r>
            <a:r>
              <a:rPr lang="fr-FR" sz="1600" dirty="0">
                <a:latin typeface="Segeo ui"/>
              </a:rPr>
              <a:t> sur Data.gouv.fr = Rajout d’une colonne, pour une base de données plus riche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600" dirty="0">
                <a:latin typeface="Segeo ui"/>
              </a:rPr>
              <a:t>Répertorie la </a:t>
            </a:r>
            <a:r>
              <a:rPr lang="fr-FR" sz="1600" b="1" dirty="0">
                <a:latin typeface="Segeo ui"/>
              </a:rPr>
              <a:t>plupart</a:t>
            </a:r>
            <a:r>
              <a:rPr lang="fr-FR" sz="1600" dirty="0">
                <a:latin typeface="Segeo ui"/>
              </a:rPr>
              <a:t> des gares</a:t>
            </a:r>
            <a:endParaRPr lang="en-US" sz="1600" b="1" dirty="0">
              <a:solidFill>
                <a:srgbClr val="FF0000"/>
              </a:solidFill>
              <a:latin typeface="Segeo ui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16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18" name="Rectangle: Top Corners Rounded 22">
            <a:extLst>
              <a:ext uri="{FF2B5EF4-FFF2-40B4-BE49-F238E27FC236}">
                <a16:creationId xmlns:a16="http://schemas.microsoft.com/office/drawing/2014/main" id="{0F4EFEC1-716F-3116-840B-94F4216DB2F0}"/>
              </a:ext>
            </a:extLst>
          </p:cNvPr>
          <p:cNvSpPr/>
          <p:nvPr/>
        </p:nvSpPr>
        <p:spPr>
          <a:xfrm>
            <a:off x="322041" y="1321179"/>
            <a:ext cx="6085384" cy="449877"/>
          </a:xfrm>
          <a:prstGeom prst="round2SameRect">
            <a:avLst/>
          </a:prstGeom>
          <a:solidFill>
            <a:srgbClr val="287192"/>
          </a:solidFill>
          <a:ln w="12700">
            <a:solidFill>
              <a:schemeClr val="tx1"/>
            </a:solidFill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ux </a:t>
            </a:r>
            <a:r>
              <a:rPr lang="fr-FR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blématiques</a:t>
            </a:r>
          </a:p>
        </p:txBody>
      </p:sp>
      <p:sp>
        <p:nvSpPr>
          <p:cNvPr id="25" name="Rectangle: Top Corners Rounded 157">
            <a:extLst>
              <a:ext uri="{FF2B5EF4-FFF2-40B4-BE49-F238E27FC236}">
                <a16:creationId xmlns:a16="http://schemas.microsoft.com/office/drawing/2014/main" id="{BE405CCE-1079-94AA-7A25-DB8D2E70AB13}"/>
              </a:ext>
            </a:extLst>
          </p:cNvPr>
          <p:cNvSpPr/>
          <p:nvPr/>
        </p:nvSpPr>
        <p:spPr>
          <a:xfrm>
            <a:off x="0" y="2"/>
            <a:ext cx="12192000" cy="122722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7" name="Rectángulo 3">
            <a:extLst>
              <a:ext uri="{FF2B5EF4-FFF2-40B4-BE49-F238E27FC236}">
                <a16:creationId xmlns:a16="http://schemas.microsoft.com/office/drawing/2014/main" id="{53ADE52C-EB1D-4670-C390-32D1145883FF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5909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A </a:t>
            </a:r>
            <a:r>
              <a:rPr lang="en-US" sz="3600" dirty="0">
                <a:solidFill>
                  <a:schemeClr val="bg1"/>
                </a:solidFill>
                <a:latin typeface="Arial Black"/>
              </a:rPr>
              <a:t>–</a:t>
            </a: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Arial Black"/>
                <a:cs typeface="Segoe UI"/>
              </a:rPr>
              <a:t>Prétraitement</a:t>
            </a: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 des données</a:t>
            </a:r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17E66D06-CCD4-9A55-83DB-A8A6EDD6CF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5472" y="1682986"/>
            <a:ext cx="5254487" cy="167235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C75F4F45-6AB0-6A33-FC2D-162D89507C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5896" y="3590404"/>
            <a:ext cx="7934063" cy="233153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06058129-7E8C-AF2D-A99D-D874B5FE76C4}"/>
              </a:ext>
            </a:extLst>
          </p:cNvPr>
          <p:cNvCxnSpPr>
            <a:cxnSpLocks/>
          </p:cNvCxnSpPr>
          <p:nvPr/>
        </p:nvCxnSpPr>
        <p:spPr>
          <a:xfrm flipH="1" flipV="1">
            <a:off x="6044761" y="5889526"/>
            <a:ext cx="342852" cy="3180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6" name="ZoneTexte 45">
            <a:extLst>
              <a:ext uri="{FF2B5EF4-FFF2-40B4-BE49-F238E27FC236}">
                <a16:creationId xmlns:a16="http://schemas.microsoft.com/office/drawing/2014/main" id="{34509D44-D79B-5B13-573D-B21A616543B2}"/>
              </a:ext>
            </a:extLst>
          </p:cNvPr>
          <p:cNvSpPr txBox="1"/>
          <p:nvPr/>
        </p:nvSpPr>
        <p:spPr>
          <a:xfrm>
            <a:off x="5393635" y="6175110"/>
            <a:ext cx="58063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</a:rPr>
              <a:t>Création d’une deuxième feuille pour ne pas corrompre les données originales</a:t>
            </a:r>
          </a:p>
        </p:txBody>
      </p:sp>
      <p:pic>
        <p:nvPicPr>
          <p:cNvPr id="50" name="Image 49">
            <a:extLst>
              <a:ext uri="{FF2B5EF4-FFF2-40B4-BE49-F238E27FC236}">
                <a16:creationId xmlns:a16="http://schemas.microsoft.com/office/drawing/2014/main" id="{B2AA7E90-A701-7568-7494-2DDBF59BD0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276" y="3596908"/>
            <a:ext cx="2882456" cy="232503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1" name="ZoneTexte 50">
            <a:extLst>
              <a:ext uri="{FF2B5EF4-FFF2-40B4-BE49-F238E27FC236}">
                <a16:creationId xmlns:a16="http://schemas.microsoft.com/office/drawing/2014/main" id="{A99D653B-1A99-7434-F3A1-15332963E7C1}"/>
              </a:ext>
            </a:extLst>
          </p:cNvPr>
          <p:cNvSpPr txBox="1"/>
          <p:nvPr/>
        </p:nvSpPr>
        <p:spPr>
          <a:xfrm>
            <a:off x="482276" y="6006933"/>
            <a:ext cx="2284363" cy="650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Utilisation de l’outils </a:t>
            </a:r>
            <a:r>
              <a:rPr lang="fr-FR" b="1" dirty="0" err="1"/>
              <a:t>Kutools</a:t>
            </a:r>
            <a:r>
              <a:rPr lang="fr-FR" b="1" dirty="0"/>
              <a:t> for Excel</a:t>
            </a:r>
          </a:p>
        </p:txBody>
      </p:sp>
      <p:cxnSp>
        <p:nvCxnSpPr>
          <p:cNvPr id="52" name="Connecteur droit avec flèche 51">
            <a:extLst>
              <a:ext uri="{FF2B5EF4-FFF2-40B4-BE49-F238E27FC236}">
                <a16:creationId xmlns:a16="http://schemas.microsoft.com/office/drawing/2014/main" id="{656FEEA0-DD11-30C6-54A2-93D2A8A5169D}"/>
              </a:ext>
            </a:extLst>
          </p:cNvPr>
          <p:cNvCxnSpPr>
            <a:cxnSpLocks/>
          </p:cNvCxnSpPr>
          <p:nvPr/>
        </p:nvCxnSpPr>
        <p:spPr>
          <a:xfrm>
            <a:off x="3364732" y="4881006"/>
            <a:ext cx="51152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0626047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8">
            <a:extLst>
              <a:ext uri="{FF2B5EF4-FFF2-40B4-BE49-F238E27FC236}">
                <a16:creationId xmlns:a16="http://schemas.microsoft.com/office/drawing/2014/main" id="{00E5A00D-7EF6-16AD-9E26-010A8F013B72}"/>
              </a:ext>
            </a:extLst>
          </p:cNvPr>
          <p:cNvSpPr/>
          <p:nvPr/>
        </p:nvSpPr>
        <p:spPr>
          <a:xfrm rot="5400000">
            <a:off x="11532390" y="6183792"/>
            <a:ext cx="647632" cy="630268"/>
          </a:xfrm>
          <a:prstGeom prst="roundRect">
            <a:avLst>
              <a:gd name="adj" fmla="val 50000"/>
            </a:avLst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pic>
        <p:nvPicPr>
          <p:cNvPr id="11" name="Picture 4" descr="Zones de population équivalentes : Île-de-France et &quot;Diagonale du vide&quot; : r/ france">
            <a:extLst>
              <a:ext uri="{FF2B5EF4-FFF2-40B4-BE49-F238E27FC236}">
                <a16:creationId xmlns:a16="http://schemas.microsoft.com/office/drawing/2014/main" id="{95B5A6D3-1267-514B-6CF9-1CE3AB79B0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1" b="4003"/>
          <a:stretch/>
        </p:blipFill>
        <p:spPr bwMode="auto">
          <a:xfrm>
            <a:off x="20660" y="1321180"/>
            <a:ext cx="6031897" cy="5371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C81E87D-AAAD-34C3-CC21-E2AD0CB19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2546" y="3289224"/>
            <a:ext cx="5328526" cy="279788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27DC2670-198E-7D13-C549-43442D137B30}"/>
              </a:ext>
            </a:extLst>
          </p:cNvPr>
          <p:cNvCxnSpPr>
            <a:cxnSpLocks/>
          </p:cNvCxnSpPr>
          <p:nvPr/>
        </p:nvCxnSpPr>
        <p:spPr>
          <a:xfrm flipH="1" flipV="1">
            <a:off x="4214191" y="3027358"/>
            <a:ext cx="6354348" cy="166080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9" name="Image 18">
            <a:extLst>
              <a:ext uri="{FF2B5EF4-FFF2-40B4-BE49-F238E27FC236}">
                <a16:creationId xmlns:a16="http://schemas.microsoft.com/office/drawing/2014/main" id="{3AF110A3-A6E0-250A-BB0A-BF0C9F1153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872743"/>
            <a:ext cx="3287265" cy="2328480"/>
          </a:xfrm>
          <a:prstGeom prst="rect">
            <a:avLst/>
          </a:prstGeom>
        </p:spPr>
      </p:pic>
      <p:sp>
        <p:nvSpPr>
          <p:cNvPr id="20" name="Rectangle: Top Corners Rounded 157">
            <a:extLst>
              <a:ext uri="{FF2B5EF4-FFF2-40B4-BE49-F238E27FC236}">
                <a16:creationId xmlns:a16="http://schemas.microsoft.com/office/drawing/2014/main" id="{8575EEAC-FDF8-BE34-AF8B-826155239281}"/>
              </a:ext>
            </a:extLst>
          </p:cNvPr>
          <p:cNvSpPr/>
          <p:nvPr/>
        </p:nvSpPr>
        <p:spPr>
          <a:xfrm>
            <a:off x="0" y="1"/>
            <a:ext cx="12192000" cy="1363245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3" name="Rectángulo 3">
            <a:extLst>
              <a:ext uri="{FF2B5EF4-FFF2-40B4-BE49-F238E27FC236}">
                <a16:creationId xmlns:a16="http://schemas.microsoft.com/office/drawing/2014/main" id="{1F0E3F2D-65C3-0668-2FC9-31B97E38B75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5909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B </a:t>
            </a:r>
            <a:r>
              <a:rPr lang="en-US" sz="3600" dirty="0">
                <a:solidFill>
                  <a:schemeClr val="bg1"/>
                </a:solidFill>
                <a:latin typeface="Arial Black"/>
              </a:rPr>
              <a:t>–</a:t>
            </a: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 Chiffres </a:t>
            </a:r>
            <a:r>
              <a:rPr lang="en-US" sz="3600" b="1" dirty="0" err="1">
                <a:solidFill>
                  <a:schemeClr val="bg1"/>
                </a:solidFill>
                <a:latin typeface="Arial Black"/>
                <a:cs typeface="Segoe UI"/>
              </a:rPr>
              <a:t>clés</a:t>
            </a:r>
            <a:endParaRPr lang="en-US" sz="3600" b="1" dirty="0">
              <a:solidFill>
                <a:schemeClr val="bg1"/>
              </a:solidFill>
              <a:latin typeface="Arial Black"/>
              <a:cs typeface="Segoe UI"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EE560D62-D416-91E9-E1D7-14682EB241F5}"/>
              </a:ext>
            </a:extLst>
          </p:cNvPr>
          <p:cNvSpPr txBox="1"/>
          <p:nvPr/>
        </p:nvSpPr>
        <p:spPr>
          <a:xfrm>
            <a:off x="164333" y="6175110"/>
            <a:ext cx="50537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002060"/>
                </a:solidFill>
              </a:rPr>
              <a:t>Carte de la France et de la diagonale du vide (où il y a le moins d’habitants donc peut-être moins de tourisme)</a:t>
            </a:r>
          </a:p>
        </p:txBody>
      </p:sp>
    </p:spTree>
    <p:extLst>
      <p:ext uri="{BB962C8B-B14F-4D97-AF65-F5344CB8AC3E}">
        <p14:creationId xmlns:p14="http://schemas.microsoft.com/office/powerpoint/2010/main" val="24041552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8">
            <a:extLst>
              <a:ext uri="{FF2B5EF4-FFF2-40B4-BE49-F238E27FC236}">
                <a16:creationId xmlns:a16="http://schemas.microsoft.com/office/drawing/2014/main" id="{00E5A00D-7EF6-16AD-9E26-010A8F013B72}"/>
              </a:ext>
            </a:extLst>
          </p:cNvPr>
          <p:cNvSpPr/>
          <p:nvPr/>
        </p:nvSpPr>
        <p:spPr>
          <a:xfrm rot="5400000">
            <a:off x="11532390" y="6183792"/>
            <a:ext cx="647632" cy="630268"/>
          </a:xfrm>
          <a:prstGeom prst="roundRect">
            <a:avLst>
              <a:gd name="adj" fmla="val 50000"/>
            </a:avLst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20" name="Rectangle: Top Corners Rounded 157">
            <a:extLst>
              <a:ext uri="{FF2B5EF4-FFF2-40B4-BE49-F238E27FC236}">
                <a16:creationId xmlns:a16="http://schemas.microsoft.com/office/drawing/2014/main" id="{8575EEAC-FDF8-BE34-AF8B-826155239281}"/>
              </a:ext>
            </a:extLst>
          </p:cNvPr>
          <p:cNvSpPr/>
          <p:nvPr/>
        </p:nvSpPr>
        <p:spPr>
          <a:xfrm>
            <a:off x="0" y="1"/>
            <a:ext cx="12192000" cy="1363245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3" name="Rectángulo 3">
            <a:extLst>
              <a:ext uri="{FF2B5EF4-FFF2-40B4-BE49-F238E27FC236}">
                <a16:creationId xmlns:a16="http://schemas.microsoft.com/office/drawing/2014/main" id="{1F0E3F2D-65C3-0668-2FC9-31B97E38B759}"/>
              </a:ext>
            </a:extLst>
          </p:cNvPr>
          <p:cNvSpPr txBox="1">
            <a:spLocks/>
          </p:cNvSpPr>
          <p:nvPr/>
        </p:nvSpPr>
        <p:spPr>
          <a:xfrm>
            <a:off x="838200" y="239977"/>
            <a:ext cx="10515600" cy="10895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C </a:t>
            </a:r>
            <a:r>
              <a:rPr lang="en-US" sz="3600" dirty="0">
                <a:solidFill>
                  <a:schemeClr val="bg1"/>
                </a:solidFill>
                <a:latin typeface="Arial Black"/>
              </a:rPr>
              <a:t>–</a:t>
            </a: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 </a:t>
            </a:r>
            <a:r>
              <a:rPr lang="fr-FR" sz="3600" b="1" dirty="0">
                <a:solidFill>
                  <a:schemeClr val="bg1"/>
                </a:solidFill>
                <a:latin typeface="Arial Black"/>
                <a:cs typeface="Segoe UI"/>
              </a:rPr>
              <a:t>Top 10 des Gares par Nombre de Voyageurs en 2023</a:t>
            </a:r>
            <a:endParaRPr lang="en-US" sz="3600" b="1" dirty="0">
              <a:solidFill>
                <a:schemeClr val="bg1"/>
              </a:solidFill>
              <a:latin typeface="Arial Black"/>
              <a:cs typeface="Segoe UI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84B7326-4FC3-F061-2BD4-852CE5EB2E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53" y="2128020"/>
            <a:ext cx="6516303" cy="360582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E616725-83D6-3051-AAEE-D5DDFCE06B8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9104"/>
          <a:stretch/>
        </p:blipFill>
        <p:spPr>
          <a:xfrm>
            <a:off x="6756692" y="1518961"/>
            <a:ext cx="4889876" cy="450043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CA47AE75-4264-B3A1-0C82-7F851BD34805}"/>
              </a:ext>
            </a:extLst>
          </p:cNvPr>
          <p:cNvSpPr txBox="1"/>
          <p:nvPr/>
        </p:nvSpPr>
        <p:spPr>
          <a:xfrm>
            <a:off x="6756692" y="6126932"/>
            <a:ext cx="47843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Source</a:t>
            </a:r>
            <a:r>
              <a:rPr lang="fr-FR" dirty="0"/>
              <a:t> : Wikipédia, Liste des gares françaises accueillant plus d’un million de voyageurs par an</a:t>
            </a: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604545DC-84BC-321B-A218-127B3B08D3F3}"/>
              </a:ext>
            </a:extLst>
          </p:cNvPr>
          <p:cNvCxnSpPr>
            <a:cxnSpLocks/>
          </p:cNvCxnSpPr>
          <p:nvPr/>
        </p:nvCxnSpPr>
        <p:spPr>
          <a:xfrm flipH="1">
            <a:off x="5034013" y="2868328"/>
            <a:ext cx="1722679" cy="2078706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762AB9C4-E649-FE77-FD87-90ED47114CE6}"/>
              </a:ext>
            </a:extLst>
          </p:cNvPr>
          <p:cNvCxnSpPr>
            <a:cxnSpLocks/>
          </p:cNvCxnSpPr>
          <p:nvPr/>
        </p:nvCxnSpPr>
        <p:spPr>
          <a:xfrm flipH="1">
            <a:off x="3821229" y="3108960"/>
            <a:ext cx="3003083" cy="1795745"/>
          </a:xfrm>
          <a:prstGeom prst="straightConnector1">
            <a:avLst/>
          </a:prstGeom>
          <a:ln w="28575">
            <a:solidFill>
              <a:srgbClr val="E07A9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3979AE2E-2B66-F108-6B5C-871907A031AD}"/>
              </a:ext>
            </a:extLst>
          </p:cNvPr>
          <p:cNvCxnSpPr>
            <a:cxnSpLocks/>
          </p:cNvCxnSpPr>
          <p:nvPr/>
        </p:nvCxnSpPr>
        <p:spPr>
          <a:xfrm flipH="1">
            <a:off x="3715352" y="3262964"/>
            <a:ext cx="3108960" cy="1302016"/>
          </a:xfrm>
          <a:prstGeom prst="straightConnector1">
            <a:avLst/>
          </a:prstGeom>
          <a:ln w="28575">
            <a:solidFill>
              <a:srgbClr val="27C18F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7479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8">
            <a:extLst>
              <a:ext uri="{FF2B5EF4-FFF2-40B4-BE49-F238E27FC236}">
                <a16:creationId xmlns:a16="http://schemas.microsoft.com/office/drawing/2014/main" id="{00E5A00D-7EF6-16AD-9E26-010A8F013B72}"/>
              </a:ext>
            </a:extLst>
          </p:cNvPr>
          <p:cNvSpPr/>
          <p:nvPr/>
        </p:nvSpPr>
        <p:spPr>
          <a:xfrm rot="5400000">
            <a:off x="11532390" y="6183792"/>
            <a:ext cx="647632" cy="630268"/>
          </a:xfrm>
          <a:prstGeom prst="roundRect">
            <a:avLst>
              <a:gd name="adj" fmla="val 50000"/>
            </a:avLst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20" name="Rectangle: Top Corners Rounded 157">
            <a:extLst>
              <a:ext uri="{FF2B5EF4-FFF2-40B4-BE49-F238E27FC236}">
                <a16:creationId xmlns:a16="http://schemas.microsoft.com/office/drawing/2014/main" id="{8575EEAC-FDF8-BE34-AF8B-826155239281}"/>
              </a:ext>
            </a:extLst>
          </p:cNvPr>
          <p:cNvSpPr/>
          <p:nvPr/>
        </p:nvSpPr>
        <p:spPr>
          <a:xfrm>
            <a:off x="0" y="1"/>
            <a:ext cx="12192000" cy="1363245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3" name="Rectángulo 3">
            <a:extLst>
              <a:ext uri="{FF2B5EF4-FFF2-40B4-BE49-F238E27FC236}">
                <a16:creationId xmlns:a16="http://schemas.microsoft.com/office/drawing/2014/main" id="{1F0E3F2D-65C3-0668-2FC9-31B97E38B759}"/>
              </a:ext>
            </a:extLst>
          </p:cNvPr>
          <p:cNvSpPr txBox="1">
            <a:spLocks/>
          </p:cNvSpPr>
          <p:nvPr/>
        </p:nvSpPr>
        <p:spPr>
          <a:xfrm>
            <a:off x="1660071" y="136858"/>
            <a:ext cx="8871857" cy="10895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D </a:t>
            </a:r>
            <a:r>
              <a:rPr lang="en-US" sz="3600" dirty="0">
                <a:solidFill>
                  <a:schemeClr val="bg1"/>
                </a:solidFill>
                <a:latin typeface="Arial Black"/>
              </a:rPr>
              <a:t>–</a:t>
            </a: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 </a:t>
            </a:r>
            <a:r>
              <a:rPr lang="fr-FR" sz="3600" b="1" dirty="0">
                <a:solidFill>
                  <a:schemeClr val="bg1"/>
                </a:solidFill>
                <a:latin typeface="Arial Black"/>
                <a:cs typeface="Segoe UI"/>
              </a:rPr>
              <a:t>Carte des Gares en France avec Fréquentation</a:t>
            </a:r>
            <a:endParaRPr lang="en-US" sz="3600" b="1" dirty="0">
              <a:solidFill>
                <a:schemeClr val="bg1"/>
              </a:solidFill>
              <a:latin typeface="Arial Black"/>
              <a:cs typeface="Segoe UI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E771295-03E1-7B98-6810-945D1AAE8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198" y="1839085"/>
            <a:ext cx="7429345" cy="4205397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59B151E-FB3C-B5B4-DB63-BC84AED578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4985" y="2381349"/>
            <a:ext cx="3456087" cy="277565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1F5B71E-5145-01E1-AF21-6CAFF1464908}"/>
              </a:ext>
            </a:extLst>
          </p:cNvPr>
          <p:cNvSpPr txBox="1"/>
          <p:nvPr/>
        </p:nvSpPr>
        <p:spPr>
          <a:xfrm>
            <a:off x="8223582" y="5251779"/>
            <a:ext cx="31788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Source</a:t>
            </a:r>
            <a:r>
              <a:rPr lang="fr-FR" dirty="0"/>
              <a:t> : </a:t>
            </a:r>
            <a:r>
              <a:rPr lang="fr-FR" dirty="0" err="1"/>
              <a:t>Econews</a:t>
            </a:r>
            <a:r>
              <a:rPr lang="fr-FR" dirty="0"/>
              <a:t>, Les 14 métropoles françaises classés par le nombre d’habitants</a:t>
            </a:r>
          </a:p>
        </p:txBody>
      </p:sp>
    </p:spTree>
    <p:extLst>
      <p:ext uri="{BB962C8B-B14F-4D97-AF65-F5344CB8AC3E}">
        <p14:creationId xmlns:p14="http://schemas.microsoft.com/office/powerpoint/2010/main" val="12465440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8">
            <a:extLst>
              <a:ext uri="{FF2B5EF4-FFF2-40B4-BE49-F238E27FC236}">
                <a16:creationId xmlns:a16="http://schemas.microsoft.com/office/drawing/2014/main" id="{00E5A00D-7EF6-16AD-9E26-010A8F013B72}"/>
              </a:ext>
            </a:extLst>
          </p:cNvPr>
          <p:cNvSpPr/>
          <p:nvPr/>
        </p:nvSpPr>
        <p:spPr>
          <a:xfrm rot="5400000">
            <a:off x="11532390" y="6183792"/>
            <a:ext cx="647632" cy="630268"/>
          </a:xfrm>
          <a:prstGeom prst="roundRect">
            <a:avLst>
              <a:gd name="adj" fmla="val 50000"/>
            </a:avLst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20" name="Rectangle: Top Corners Rounded 157">
            <a:extLst>
              <a:ext uri="{FF2B5EF4-FFF2-40B4-BE49-F238E27FC236}">
                <a16:creationId xmlns:a16="http://schemas.microsoft.com/office/drawing/2014/main" id="{8575EEAC-FDF8-BE34-AF8B-826155239281}"/>
              </a:ext>
            </a:extLst>
          </p:cNvPr>
          <p:cNvSpPr/>
          <p:nvPr/>
        </p:nvSpPr>
        <p:spPr>
          <a:xfrm>
            <a:off x="0" y="1"/>
            <a:ext cx="12192000" cy="1363245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3" name="Rectángulo 3">
            <a:extLst>
              <a:ext uri="{FF2B5EF4-FFF2-40B4-BE49-F238E27FC236}">
                <a16:creationId xmlns:a16="http://schemas.microsoft.com/office/drawing/2014/main" id="{1F0E3F2D-65C3-0668-2FC9-31B97E38B759}"/>
              </a:ext>
            </a:extLst>
          </p:cNvPr>
          <p:cNvSpPr txBox="1">
            <a:spLocks/>
          </p:cNvSpPr>
          <p:nvPr/>
        </p:nvSpPr>
        <p:spPr>
          <a:xfrm>
            <a:off x="1660071" y="136858"/>
            <a:ext cx="8871857" cy="10895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E </a:t>
            </a:r>
            <a:r>
              <a:rPr lang="en-US" sz="3600" dirty="0">
                <a:solidFill>
                  <a:schemeClr val="bg1"/>
                </a:solidFill>
                <a:latin typeface="Arial Black"/>
              </a:rPr>
              <a:t>–</a:t>
            </a: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 </a:t>
            </a:r>
            <a:r>
              <a:rPr lang="fr-FR" sz="3600" b="1" dirty="0">
                <a:solidFill>
                  <a:schemeClr val="bg1"/>
                </a:solidFill>
                <a:latin typeface="Arial Black"/>
                <a:cs typeface="Segoe UI"/>
              </a:rPr>
              <a:t>Nombre de Voyageurs par Gare en 2023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1F5B71E-5145-01E1-AF21-6CAFF1464908}"/>
              </a:ext>
            </a:extLst>
          </p:cNvPr>
          <p:cNvSpPr txBox="1"/>
          <p:nvPr/>
        </p:nvSpPr>
        <p:spPr>
          <a:xfrm>
            <a:off x="9042946" y="3132852"/>
            <a:ext cx="24981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Meilleure visibilité et possibilité de mieux manipuler avec le filtre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E030159-5E22-5B85-C997-C0BF0EABA7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834" y="1500103"/>
            <a:ext cx="8196889" cy="4767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888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8">
            <a:extLst>
              <a:ext uri="{FF2B5EF4-FFF2-40B4-BE49-F238E27FC236}">
                <a16:creationId xmlns:a16="http://schemas.microsoft.com/office/drawing/2014/main" id="{00E5A00D-7EF6-16AD-9E26-010A8F013B72}"/>
              </a:ext>
            </a:extLst>
          </p:cNvPr>
          <p:cNvSpPr/>
          <p:nvPr/>
        </p:nvSpPr>
        <p:spPr>
          <a:xfrm rot="5400000">
            <a:off x="11532390" y="6183792"/>
            <a:ext cx="647632" cy="630268"/>
          </a:xfrm>
          <a:prstGeom prst="roundRect">
            <a:avLst>
              <a:gd name="adj" fmla="val 50000"/>
            </a:avLst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20" name="Rectangle: Top Corners Rounded 157">
            <a:extLst>
              <a:ext uri="{FF2B5EF4-FFF2-40B4-BE49-F238E27FC236}">
                <a16:creationId xmlns:a16="http://schemas.microsoft.com/office/drawing/2014/main" id="{8575EEAC-FDF8-BE34-AF8B-826155239281}"/>
              </a:ext>
            </a:extLst>
          </p:cNvPr>
          <p:cNvSpPr/>
          <p:nvPr/>
        </p:nvSpPr>
        <p:spPr>
          <a:xfrm>
            <a:off x="0" y="1"/>
            <a:ext cx="12192000" cy="1363245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3" name="Rectángulo 3">
            <a:extLst>
              <a:ext uri="{FF2B5EF4-FFF2-40B4-BE49-F238E27FC236}">
                <a16:creationId xmlns:a16="http://schemas.microsoft.com/office/drawing/2014/main" id="{1F0E3F2D-65C3-0668-2FC9-31B97E38B759}"/>
              </a:ext>
            </a:extLst>
          </p:cNvPr>
          <p:cNvSpPr txBox="1">
            <a:spLocks/>
          </p:cNvSpPr>
          <p:nvPr/>
        </p:nvSpPr>
        <p:spPr>
          <a:xfrm>
            <a:off x="1660071" y="136858"/>
            <a:ext cx="8871857" cy="10895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F </a:t>
            </a:r>
            <a:r>
              <a:rPr lang="en-US" sz="3600" dirty="0">
                <a:solidFill>
                  <a:schemeClr val="bg1"/>
                </a:solidFill>
                <a:latin typeface="Arial Black"/>
              </a:rPr>
              <a:t>–</a:t>
            </a:r>
            <a:r>
              <a:rPr lang="en-US" sz="3600" b="1" dirty="0">
                <a:solidFill>
                  <a:schemeClr val="bg1"/>
                </a:solidFill>
                <a:latin typeface="Arial Black"/>
                <a:cs typeface="Segoe UI"/>
              </a:rPr>
              <a:t> </a:t>
            </a:r>
            <a:r>
              <a:rPr lang="fr-FR" sz="3600" b="1" dirty="0">
                <a:solidFill>
                  <a:schemeClr val="bg1"/>
                </a:solidFill>
                <a:latin typeface="Arial Black"/>
                <a:cs typeface="Segoe UI"/>
              </a:rPr>
              <a:t>Comparaison de la fréquence des gares sur plusieurs anné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1F5B71E-5145-01E1-AF21-6CAFF1464908}"/>
              </a:ext>
            </a:extLst>
          </p:cNvPr>
          <p:cNvSpPr txBox="1"/>
          <p:nvPr/>
        </p:nvSpPr>
        <p:spPr>
          <a:xfrm>
            <a:off x="1164770" y="5102654"/>
            <a:ext cx="9557656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2060"/>
                </a:solidFill>
              </a:rPr>
              <a:t>Explication des données</a:t>
            </a: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accent5">
                    <a:lumMod val="75000"/>
                  </a:schemeClr>
                </a:solidFill>
              </a:rPr>
              <a:t>Année 2020 </a:t>
            </a:r>
            <a:r>
              <a:rPr lang="fr-FR" b="1" dirty="0"/>
              <a:t>: pandémie de la COVID19 et confinement donc déplacement limité</a:t>
            </a: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accent5">
                    <a:lumMod val="75000"/>
                  </a:schemeClr>
                </a:solidFill>
              </a:rPr>
              <a:t>Année 2021 </a:t>
            </a:r>
            <a:r>
              <a:rPr lang="fr-FR" b="1" dirty="0"/>
              <a:t>: Pic plus important après la pandémie</a:t>
            </a: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accent5">
                    <a:lumMod val="75000"/>
                  </a:schemeClr>
                </a:solidFill>
              </a:rPr>
              <a:t>Années 2022 et 2023 </a:t>
            </a:r>
            <a:r>
              <a:rPr lang="fr-FR" b="1" dirty="0"/>
              <a:t>: Meilleur taux de fréquence, peut-être vis-à-vis des initiatives </a:t>
            </a:r>
            <a:r>
              <a:rPr lang="fr-FR" b="1" dirty="0" err="1"/>
              <a:t>PassRail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E1006AA-5E55-2816-072E-7E96C7AE9F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770" y="1500103"/>
            <a:ext cx="9862457" cy="3384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571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7ytopH1maITImotOwH.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Sx2Aovif80wuyGsVmD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8Fcgh8HaEEbeayvuWv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fn.8dSLcMerPm6AI92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99Ot73N_nB0G9QjNe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vMDvZr1Oo_A9teCQ_1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lLMvtAIiqED_vtt6w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UyXFpiqWyEbGpYCRrtq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jy3CW0rQO_tzuQZLHj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VU79M2WUWgy96c5QmE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EYdbnDmz_fAPYEPge.X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32">
      <a:majorFont>
        <a:latin typeface="Arial Black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F9B75A2C4C5C4892C8AA171A56F938" ma:contentTypeVersion="4" ma:contentTypeDescription="Create a new document." ma:contentTypeScope="" ma:versionID="4834ed8daaa77f8f5b60889f871c6cc9">
  <xsd:schema xmlns:xsd="http://www.w3.org/2001/XMLSchema" xmlns:xs="http://www.w3.org/2001/XMLSchema" xmlns:p="http://schemas.microsoft.com/office/2006/metadata/properties" xmlns:ns3="a4d203f6-5d58-4e2e-9382-f3e1ae518de3" targetNamespace="http://schemas.microsoft.com/office/2006/metadata/properties" ma:root="true" ma:fieldsID="93aa93a5d31ca3592c70b1a7aef32557" ns3:_="">
    <xsd:import namespace="a4d203f6-5d58-4e2e-9382-f3e1ae518de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d203f6-5d58-4e2e-9382-f3e1ae518d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27695AC-6C89-4BC3-AB78-D55090847464}">
  <ds:schemaRefs>
    <ds:schemaRef ds:uri="a4d203f6-5d58-4e2e-9382-f3e1ae518de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648CDC8-D5F1-4C3B-B109-DE8EE52667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32E32F-75F0-4F1C-9FCF-AFF5AA874BD8}">
  <ds:schemaRefs>
    <ds:schemaRef ds:uri="a4d203f6-5d58-4e2e-9382-f3e1ae518de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87</TotalTime>
  <Words>421</Words>
  <Application>Microsoft Office PowerPoint</Application>
  <PresentationFormat>Grand écran</PresentationFormat>
  <Paragraphs>65</Paragraphs>
  <Slides>12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4" baseType="lpstr">
      <vt:lpstr>Arial</vt:lpstr>
      <vt:lpstr>Arial Black</vt:lpstr>
      <vt:lpstr>Calibri</vt:lpstr>
      <vt:lpstr>Calibri Light</vt:lpstr>
      <vt:lpstr>Dubai Light</vt:lpstr>
      <vt:lpstr>Segeo ui</vt:lpstr>
      <vt:lpstr>Segoe UI</vt:lpstr>
      <vt:lpstr>Source Sans Pro</vt:lpstr>
      <vt:lpstr>Wingdings</vt:lpstr>
      <vt:lpstr>Office Theme</vt:lpstr>
      <vt:lpstr>Tema de Offic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5</dc:creator>
  <cp:lastModifiedBy>Sugeetha SUGUNAPARAJAN</cp:lastModifiedBy>
  <cp:revision>63</cp:revision>
  <dcterms:created xsi:type="dcterms:W3CDTF">2020-08-27T07:00:05Z</dcterms:created>
  <dcterms:modified xsi:type="dcterms:W3CDTF">2024-10-20T23:5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F9B75A2C4C5C4892C8AA171A56F938</vt:lpwstr>
  </property>
</Properties>
</file>